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2" r:id="rId5"/>
    <p:sldMasterId id="2147483708" r:id="rId6"/>
    <p:sldMasterId id="2147483759" r:id="rId7"/>
    <p:sldMasterId id="2147483718" r:id="rId8"/>
  </p:sldMasterIdLst>
  <p:notesMasterIdLst>
    <p:notesMasterId r:id="rId39"/>
  </p:notesMasterIdLst>
  <p:handoutMasterIdLst>
    <p:handoutMasterId r:id="rId40"/>
  </p:handoutMasterIdLst>
  <p:sldIdLst>
    <p:sldId id="256" r:id="rId9"/>
    <p:sldId id="10326" r:id="rId10"/>
    <p:sldId id="10458" r:id="rId11"/>
    <p:sldId id="10412" r:id="rId12"/>
    <p:sldId id="10464" r:id="rId13"/>
    <p:sldId id="10457" r:id="rId14"/>
    <p:sldId id="10442" r:id="rId15"/>
    <p:sldId id="10325" r:id="rId16"/>
    <p:sldId id="10318" r:id="rId17"/>
    <p:sldId id="10454" r:id="rId18"/>
    <p:sldId id="415" r:id="rId19"/>
    <p:sldId id="10443" r:id="rId20"/>
    <p:sldId id="10461" r:id="rId21"/>
    <p:sldId id="10448" r:id="rId22"/>
    <p:sldId id="10468" r:id="rId23"/>
    <p:sldId id="10467" r:id="rId24"/>
    <p:sldId id="289" r:id="rId25"/>
    <p:sldId id="10465" r:id="rId26"/>
    <p:sldId id="10423" r:id="rId27"/>
    <p:sldId id="10424" r:id="rId28"/>
    <p:sldId id="10455" r:id="rId29"/>
    <p:sldId id="10456" r:id="rId30"/>
    <p:sldId id="10469" r:id="rId31"/>
    <p:sldId id="10462" r:id="rId32"/>
    <p:sldId id="10451" r:id="rId33"/>
    <p:sldId id="10406" r:id="rId34"/>
    <p:sldId id="10444" r:id="rId35"/>
    <p:sldId id="10450" r:id="rId36"/>
    <p:sldId id="10415" r:id="rId37"/>
    <p:sldId id="10470" r:id="rId38"/>
  </p:sldIdLst>
  <p:sldSz cx="12192000" cy="6858000"/>
  <p:notesSz cx="7010400" cy="9296400"/>
  <p:defaultTextStyle>
    <a:defPPr>
      <a:defRPr lang="en-US"/>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2" userDrawn="1">
          <p15:clr>
            <a:srgbClr val="A4A3A4"/>
          </p15:clr>
        </p15:guide>
        <p15:guide id="2" pos="35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ED9870-81C1-FA74-EEE2-B402D3DB6E26}" name="Mercades White" initials="MW" userId="S::mercades.white@njeda.com::137165ca-eb07-4c6a-9b46-6d9cd54dc049" providerId="AD"/>
  <p188:author id="{6C9BD87C-D6B3-4BB3-F33E-B94CA9F682A4}" name="Sandy Chu" initials="SC" userId="S::schu@njeda.com::f65ec5ca-18ae-4c75-bec6-95a71a9e243e" providerId="AD"/>
  <p188:author id="{077F1ADD-A0C8-EB3D-A0D3-329FFBF2BA64}" name="Virginia Flood" initials="VF" userId="S::vpellerin@njeda.com::cb77da13-d7e2-434a-8aaa-0433988109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chael Wierzbicki" initials="MW" lastIdx="29" clrIdx="6">
    <p:extLst>
      <p:ext uri="{19B8F6BF-5375-455C-9EA6-DF929625EA0E}">
        <p15:presenceInfo xmlns:p15="http://schemas.microsoft.com/office/powerpoint/2012/main" userId="S::MWierzbicki@njeda.com::b43b4476-c4a1-4522-9531-80c4004b984b" providerId="AD"/>
      </p:ext>
    </p:extLst>
  </p:cmAuthor>
  <p:cmAuthor id="1" name="Annie D'Agostino" initials="AD" lastIdx="1" clrIdx="0">
    <p:extLst>
      <p:ext uri="{19B8F6BF-5375-455C-9EA6-DF929625EA0E}">
        <p15:presenceInfo xmlns:p15="http://schemas.microsoft.com/office/powerpoint/2012/main" userId="S-1-5-21-340135368-526194409-1746411744-12516" providerId="AD"/>
      </p:ext>
    </p:extLst>
  </p:cmAuthor>
  <p:cmAuthor id="8" name="Aidita Milsted" initials="AM" lastIdx="1" clrIdx="7">
    <p:extLst>
      <p:ext uri="{19B8F6BF-5375-455C-9EA6-DF929625EA0E}">
        <p15:presenceInfo xmlns:p15="http://schemas.microsoft.com/office/powerpoint/2012/main" userId="S::CMilsted@njeda.com::4ea727b4-95f4-4eeb-b2f0-7d7241af402e" providerId="AD"/>
      </p:ext>
    </p:extLst>
  </p:cmAuthor>
  <p:cmAuthor id="2" name="Kevin DeSmedt" initials="KD" lastIdx="10" clrIdx="1">
    <p:extLst>
      <p:ext uri="{19B8F6BF-5375-455C-9EA6-DF929625EA0E}">
        <p15:presenceInfo xmlns:p15="http://schemas.microsoft.com/office/powerpoint/2012/main" userId="S::KDesmedt@njeda.com::c51164ef-e0c8-468d-9497-c6697de0741c" providerId="AD"/>
      </p:ext>
    </p:extLst>
  </p:cmAuthor>
  <p:cmAuthor id="9" name="Barbara Vadnais" initials="BV" lastIdx="28" clrIdx="8">
    <p:extLst>
      <p:ext uri="{19B8F6BF-5375-455C-9EA6-DF929625EA0E}">
        <p15:presenceInfo xmlns:p15="http://schemas.microsoft.com/office/powerpoint/2012/main" userId="S::BVadnais@njeda.com::0accac0e-17e7-47b5-8e99-a558f6427c4f" providerId="AD"/>
      </p:ext>
    </p:extLst>
  </p:cmAuthor>
  <p:cmAuthor id="3" name="Jake McNichol" initials="JM" lastIdx="11" clrIdx="2">
    <p:extLst>
      <p:ext uri="{19B8F6BF-5375-455C-9EA6-DF929625EA0E}">
        <p15:presenceInfo xmlns:p15="http://schemas.microsoft.com/office/powerpoint/2012/main" userId="S::JMcnichol@njeda.com::548c8fa1-7141-4320-9212-3fcc9fa41860" providerId="AD"/>
      </p:ext>
    </p:extLst>
  </p:cmAuthor>
  <p:cmAuthor id="4" name="Nat Bottigheimer" initials="NB" lastIdx="58" clrIdx="3">
    <p:extLst>
      <p:ext uri="{19B8F6BF-5375-455C-9EA6-DF929625EA0E}">
        <p15:presenceInfo xmlns:p15="http://schemas.microsoft.com/office/powerpoint/2012/main" userId="S::NBottigheimer@njeda.com::1caf1c59-45bd-4502-bdf9-d431bd1046c2" providerId="AD"/>
      </p:ext>
    </p:extLst>
  </p:cmAuthor>
  <p:cmAuthor id="5" name="Annie D'Agostino" initials="AD [2]" lastIdx="3" clrIdx="4">
    <p:extLst>
      <p:ext uri="{19B8F6BF-5375-455C-9EA6-DF929625EA0E}">
        <p15:presenceInfo xmlns:p15="http://schemas.microsoft.com/office/powerpoint/2012/main" userId="S::ADagostino@njeda.com::5632a31e-d606-4b75-92c6-df43931d1775" providerId="AD"/>
      </p:ext>
    </p:extLst>
  </p:cmAuthor>
  <p:cmAuthor id="6" name="Paul Ceppi" initials="PC" lastIdx="5" clrIdx="5">
    <p:extLst>
      <p:ext uri="{19B8F6BF-5375-455C-9EA6-DF929625EA0E}">
        <p15:presenceInfo xmlns:p15="http://schemas.microsoft.com/office/powerpoint/2012/main" userId="S::PCeppi@njeda.com::eb722c9c-4ff1-4d35-bd4d-407b5e3326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97C"/>
    <a:srgbClr val="84BD00"/>
    <a:srgbClr val="F8FFE7"/>
    <a:srgbClr val="FFFFFF"/>
    <a:srgbClr val="000000"/>
    <a:srgbClr val="FF9D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3DF2CD-E85E-CE75-B148-0AD9D8C2FE6A}" v="37" dt="2024-11-22T14:39:29.498"/>
    <p1510:client id="{7B39EEA1-96CB-4EB8-95A6-C008ED58B157}" v="10" dt="2024-11-21T19:40:16.991"/>
    <p1510:client id="{B235FF65-9E8A-FD1E-A45C-7FEC8A2833A4}" v="17" dt="2024-11-22T07:37:33.046"/>
    <p1510:client id="{E4629399-6208-7AA2-FA4C-90A1923CF4B8}" v="27" dt="2024-11-20T21:14:50.7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792"/>
        <p:guide pos="35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microsoft.com/office/2016/11/relationships/changesInfo" Target="changesInfos/changesInfo1.xml"/><Relationship Id="rId20" Type="http://schemas.openxmlformats.org/officeDocument/2006/relationships/slide" Target="slides/slide12.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y Chu" userId="S::schu@njeda.com::f65ec5ca-18ae-4c75-bec6-95a71a9e243e" providerId="AD" clId="Web-{AD771D49-6802-E877-3279-7FC7BB365C96}"/>
    <pc:docChg chg="modSld">
      <pc:chgData name="Sandy Chu" userId="S::schu@njeda.com::f65ec5ca-18ae-4c75-bec6-95a71a9e243e" providerId="AD" clId="Web-{AD771D49-6802-E877-3279-7FC7BB365C96}" dt="2024-11-19T19:26:21.915" v="55" actId="1076"/>
      <pc:docMkLst>
        <pc:docMk/>
      </pc:docMkLst>
      <pc:sldChg chg="modSp">
        <pc:chgData name="Sandy Chu" userId="S::schu@njeda.com::f65ec5ca-18ae-4c75-bec6-95a71a9e243e" providerId="AD" clId="Web-{AD771D49-6802-E877-3279-7FC7BB365C96}" dt="2024-11-19T18:53:01.527" v="32" actId="1076"/>
        <pc:sldMkLst>
          <pc:docMk/>
          <pc:sldMk cId="1311731828" sldId="10318"/>
        </pc:sldMkLst>
        <pc:spChg chg="mod">
          <ac:chgData name="Sandy Chu" userId="S::schu@njeda.com::f65ec5ca-18ae-4c75-bec6-95a71a9e243e" providerId="AD" clId="Web-{AD771D49-6802-E877-3279-7FC7BB365C96}" dt="2024-11-19T18:53:01.527" v="32" actId="1076"/>
          <ac:spMkLst>
            <pc:docMk/>
            <pc:sldMk cId="1311731828" sldId="10318"/>
            <ac:spMk id="2" creationId="{3786A348-8D8E-448B-894F-BCAA5F0DB8B6}"/>
          </ac:spMkLst>
        </pc:spChg>
      </pc:sldChg>
      <pc:sldChg chg="delSp modSp">
        <pc:chgData name="Sandy Chu" userId="S::schu@njeda.com::f65ec5ca-18ae-4c75-bec6-95a71a9e243e" providerId="AD" clId="Web-{AD771D49-6802-E877-3279-7FC7BB365C96}" dt="2024-11-19T18:52:47.558" v="31" actId="14100"/>
        <pc:sldMkLst>
          <pc:docMk/>
          <pc:sldMk cId="2978907713" sldId="10325"/>
        </pc:sldMkLst>
        <pc:spChg chg="mod">
          <ac:chgData name="Sandy Chu" userId="S::schu@njeda.com::f65ec5ca-18ae-4c75-bec6-95a71a9e243e" providerId="AD" clId="Web-{AD771D49-6802-E877-3279-7FC7BB365C96}" dt="2024-11-19T18:52:28.558" v="27" actId="14100"/>
          <ac:spMkLst>
            <pc:docMk/>
            <pc:sldMk cId="2978907713" sldId="10325"/>
            <ac:spMk id="4" creationId="{B82429DC-FF99-42EE-AA16-70B0B9ECBFBF}"/>
          </ac:spMkLst>
        </pc:spChg>
        <pc:spChg chg="mod">
          <ac:chgData name="Sandy Chu" userId="S::schu@njeda.com::f65ec5ca-18ae-4c75-bec6-95a71a9e243e" providerId="AD" clId="Web-{AD771D49-6802-E877-3279-7FC7BB365C96}" dt="2024-11-19T18:52:47.558" v="31" actId="14100"/>
          <ac:spMkLst>
            <pc:docMk/>
            <pc:sldMk cId="2978907713" sldId="10325"/>
            <ac:spMk id="13" creationId="{6DB8711D-80F8-2A73-E47D-48DBECC7A71E}"/>
          </ac:spMkLst>
        </pc:spChg>
        <pc:picChg chg="mod">
          <ac:chgData name="Sandy Chu" userId="S::schu@njeda.com::f65ec5ca-18ae-4c75-bec6-95a71a9e243e" providerId="AD" clId="Web-{AD771D49-6802-E877-3279-7FC7BB365C96}" dt="2024-11-19T18:52:44.246" v="30" actId="1076"/>
          <ac:picMkLst>
            <pc:docMk/>
            <pc:sldMk cId="2978907713" sldId="10325"/>
            <ac:picMk id="8" creationId="{62C75701-C885-A611-538F-CF56682DFE0C}"/>
          </ac:picMkLst>
        </pc:picChg>
      </pc:sldChg>
      <pc:sldChg chg="modSp">
        <pc:chgData name="Sandy Chu" userId="S::schu@njeda.com::f65ec5ca-18ae-4c75-bec6-95a71a9e243e" providerId="AD" clId="Web-{AD771D49-6802-E877-3279-7FC7BB365C96}" dt="2024-11-19T18:50:29.136" v="18" actId="1076"/>
        <pc:sldMkLst>
          <pc:docMk/>
          <pc:sldMk cId="1624133284" sldId="10326"/>
        </pc:sldMkLst>
        <pc:spChg chg="mod">
          <ac:chgData name="Sandy Chu" userId="S::schu@njeda.com::f65ec5ca-18ae-4c75-bec6-95a71a9e243e" providerId="AD" clId="Web-{AD771D49-6802-E877-3279-7FC7BB365C96}" dt="2024-11-19T18:47:26.105" v="1" actId="14100"/>
          <ac:spMkLst>
            <pc:docMk/>
            <pc:sldMk cId="1624133284" sldId="10326"/>
            <ac:spMk id="2" creationId="{A052F3AF-7718-47B6-9D7F-3526EA7A45CE}"/>
          </ac:spMkLst>
        </pc:spChg>
        <pc:spChg chg="mod">
          <ac:chgData name="Sandy Chu" userId="S::schu@njeda.com::f65ec5ca-18ae-4c75-bec6-95a71a9e243e" providerId="AD" clId="Web-{AD771D49-6802-E877-3279-7FC7BB365C96}" dt="2024-11-19T18:50:29.136" v="18" actId="1076"/>
          <ac:spMkLst>
            <pc:docMk/>
            <pc:sldMk cId="1624133284" sldId="10326"/>
            <ac:spMk id="5" creationId="{5FFCB364-1A81-4D17-8526-C180D5FB5BBD}"/>
          </ac:spMkLst>
        </pc:spChg>
      </pc:sldChg>
      <pc:sldChg chg="modSp">
        <pc:chgData name="Sandy Chu" userId="S::schu@njeda.com::f65ec5ca-18ae-4c75-bec6-95a71a9e243e" providerId="AD" clId="Web-{AD771D49-6802-E877-3279-7FC7BB365C96}" dt="2024-11-19T18:48:11.465" v="3" actId="14100"/>
        <pc:sldMkLst>
          <pc:docMk/>
          <pc:sldMk cId="1989297727" sldId="10412"/>
        </pc:sldMkLst>
        <pc:spChg chg="mod">
          <ac:chgData name="Sandy Chu" userId="S::schu@njeda.com::f65ec5ca-18ae-4c75-bec6-95a71a9e243e" providerId="AD" clId="Web-{AD771D49-6802-E877-3279-7FC7BB365C96}" dt="2024-11-19T18:47:54.808" v="2" actId="1076"/>
          <ac:spMkLst>
            <pc:docMk/>
            <pc:sldMk cId="1989297727" sldId="10412"/>
            <ac:spMk id="20" creationId="{B9266A61-0D93-4F98-AF1D-EB60F63B0D14}"/>
          </ac:spMkLst>
        </pc:spChg>
        <pc:spChg chg="mod">
          <ac:chgData name="Sandy Chu" userId="S::schu@njeda.com::f65ec5ca-18ae-4c75-bec6-95a71a9e243e" providerId="AD" clId="Web-{AD771D49-6802-E877-3279-7FC7BB365C96}" dt="2024-11-19T18:48:11.465" v="3" actId="14100"/>
          <ac:spMkLst>
            <pc:docMk/>
            <pc:sldMk cId="1989297727" sldId="10412"/>
            <ac:spMk id="36" creationId="{C00CD56E-0FF5-384F-BE40-8D5E147314A5}"/>
          </ac:spMkLst>
        </pc:spChg>
      </pc:sldChg>
      <pc:sldChg chg="addSp delSp modSp">
        <pc:chgData name="Sandy Chu" userId="S::schu@njeda.com::f65ec5ca-18ae-4c75-bec6-95a71a9e243e" providerId="AD" clId="Web-{AD771D49-6802-E877-3279-7FC7BB365C96}" dt="2024-11-19T19:15:33.369" v="47" actId="1076"/>
        <pc:sldMkLst>
          <pc:docMk/>
          <pc:sldMk cId="1983493573" sldId="10442"/>
        </pc:sldMkLst>
        <pc:spChg chg="mod">
          <ac:chgData name="Sandy Chu" userId="S::schu@njeda.com::f65ec5ca-18ae-4c75-bec6-95a71a9e243e" providerId="AD" clId="Web-{AD771D49-6802-E877-3279-7FC7BB365C96}" dt="2024-11-19T18:49:10.449" v="9" actId="20577"/>
          <ac:spMkLst>
            <pc:docMk/>
            <pc:sldMk cId="1983493573" sldId="10442"/>
            <ac:spMk id="2" creationId="{3786A348-8D8E-448B-894F-BCAA5F0DB8B6}"/>
          </ac:spMkLst>
        </pc:spChg>
        <pc:spChg chg="mod">
          <ac:chgData name="Sandy Chu" userId="S::schu@njeda.com::f65ec5ca-18ae-4c75-bec6-95a71a9e243e" providerId="AD" clId="Web-{AD771D49-6802-E877-3279-7FC7BB365C96}" dt="2024-11-19T18:52:09.152" v="25" actId="20577"/>
          <ac:spMkLst>
            <pc:docMk/>
            <pc:sldMk cId="1983493573" sldId="10442"/>
            <ac:spMk id="4" creationId="{B82429DC-FF99-42EE-AA16-70B0B9ECBFBF}"/>
          </ac:spMkLst>
        </pc:spChg>
        <pc:spChg chg="add mod ord">
          <ac:chgData name="Sandy Chu" userId="S::schu@njeda.com::f65ec5ca-18ae-4c75-bec6-95a71a9e243e" providerId="AD" clId="Web-{AD771D49-6802-E877-3279-7FC7BB365C96}" dt="2024-11-19T19:15:33.369" v="47" actId="1076"/>
          <ac:spMkLst>
            <pc:docMk/>
            <pc:sldMk cId="1983493573" sldId="10442"/>
            <ac:spMk id="7" creationId="{4D4DE726-1B55-DA86-0874-677D57286436}"/>
          </ac:spMkLst>
        </pc:spChg>
        <pc:picChg chg="mod">
          <ac:chgData name="Sandy Chu" userId="S::schu@njeda.com::f65ec5ca-18ae-4c75-bec6-95a71a9e243e" providerId="AD" clId="Web-{AD771D49-6802-E877-3279-7FC7BB365C96}" dt="2024-11-19T19:15:19.166" v="45" actId="14100"/>
          <ac:picMkLst>
            <pc:docMk/>
            <pc:sldMk cId="1983493573" sldId="10442"/>
            <ac:picMk id="6" creationId="{297D28CF-7432-B5DD-9802-72EB312B5C77}"/>
          </ac:picMkLst>
        </pc:picChg>
      </pc:sldChg>
      <pc:sldChg chg="modSp">
        <pc:chgData name="Sandy Chu" userId="S::schu@njeda.com::f65ec5ca-18ae-4c75-bec6-95a71a9e243e" providerId="AD" clId="Web-{AD771D49-6802-E877-3279-7FC7BB365C96}" dt="2024-11-19T18:53:42.371" v="35" actId="1076"/>
        <pc:sldMkLst>
          <pc:docMk/>
          <pc:sldMk cId="2469428523" sldId="10454"/>
        </pc:sldMkLst>
        <pc:graphicFrameChg chg="mod">
          <ac:chgData name="Sandy Chu" userId="S::schu@njeda.com::f65ec5ca-18ae-4c75-bec6-95a71a9e243e" providerId="AD" clId="Web-{AD771D49-6802-E877-3279-7FC7BB365C96}" dt="2024-11-19T18:53:42.371" v="35" actId="1076"/>
          <ac:graphicFrameMkLst>
            <pc:docMk/>
            <pc:sldMk cId="2469428523" sldId="10454"/>
            <ac:graphicFrameMk id="6" creationId="{BCBC0037-DF45-4702-BC24-F065EB62A3B6}"/>
          </ac:graphicFrameMkLst>
        </pc:graphicFrameChg>
      </pc:sldChg>
      <pc:sldChg chg="modSp">
        <pc:chgData name="Sandy Chu" userId="S::schu@njeda.com::f65ec5ca-18ae-4c75-bec6-95a71a9e243e" providerId="AD" clId="Web-{AD771D49-6802-E877-3279-7FC7BB365C96}" dt="2024-11-19T19:20:50.041" v="50" actId="20577"/>
        <pc:sldMkLst>
          <pc:docMk/>
          <pc:sldMk cId="1666694850" sldId="10455"/>
        </pc:sldMkLst>
        <pc:spChg chg="mod">
          <ac:chgData name="Sandy Chu" userId="S::schu@njeda.com::f65ec5ca-18ae-4c75-bec6-95a71a9e243e" providerId="AD" clId="Web-{AD771D49-6802-E877-3279-7FC7BB365C96}" dt="2024-11-19T19:20:50.041" v="50" actId="20577"/>
          <ac:spMkLst>
            <pc:docMk/>
            <pc:sldMk cId="1666694850" sldId="10455"/>
            <ac:spMk id="4" creationId="{E8FED121-C8EA-4618-8F81-9C9A95DC09AF}"/>
          </ac:spMkLst>
        </pc:spChg>
      </pc:sldChg>
      <pc:sldChg chg="modSp">
        <pc:chgData name="Sandy Chu" userId="S::schu@njeda.com::f65ec5ca-18ae-4c75-bec6-95a71a9e243e" providerId="AD" clId="Web-{AD771D49-6802-E877-3279-7FC7BB365C96}" dt="2024-11-19T18:51:50.074" v="21"/>
        <pc:sldMkLst>
          <pc:docMk/>
          <pc:sldMk cId="3281264320" sldId="10457"/>
        </pc:sldMkLst>
        <pc:picChg chg="mod modCrop">
          <ac:chgData name="Sandy Chu" userId="S::schu@njeda.com::f65ec5ca-18ae-4c75-bec6-95a71a9e243e" providerId="AD" clId="Web-{AD771D49-6802-E877-3279-7FC7BB365C96}" dt="2024-11-19T18:51:50.074" v="21"/>
          <ac:picMkLst>
            <pc:docMk/>
            <pc:sldMk cId="3281264320" sldId="10457"/>
            <ac:picMk id="2050" creationId="{450231BF-BD90-240D-DC5A-70C08228A33E}"/>
          </ac:picMkLst>
        </pc:picChg>
      </pc:sldChg>
      <pc:sldChg chg="modSp">
        <pc:chgData name="Sandy Chu" userId="S::schu@njeda.com::f65ec5ca-18ae-4c75-bec6-95a71a9e243e" providerId="AD" clId="Web-{AD771D49-6802-E877-3279-7FC7BB365C96}" dt="2024-11-19T18:50:37.090" v="19" actId="1076"/>
        <pc:sldMkLst>
          <pc:docMk/>
          <pc:sldMk cId="3592712905" sldId="10458"/>
        </pc:sldMkLst>
        <pc:spChg chg="mod">
          <ac:chgData name="Sandy Chu" userId="S::schu@njeda.com::f65ec5ca-18ae-4c75-bec6-95a71a9e243e" providerId="AD" clId="Web-{AD771D49-6802-E877-3279-7FC7BB365C96}" dt="2024-11-19T18:50:37.090" v="19" actId="1076"/>
          <ac:spMkLst>
            <pc:docMk/>
            <pc:sldMk cId="3592712905" sldId="10458"/>
            <ac:spMk id="2" creationId="{22187084-3E7E-4253-A571-499690F5C24A}"/>
          </ac:spMkLst>
        </pc:spChg>
      </pc:sldChg>
      <pc:sldChg chg="modSp">
        <pc:chgData name="Sandy Chu" userId="S::schu@njeda.com::f65ec5ca-18ae-4c75-bec6-95a71a9e243e" providerId="AD" clId="Web-{AD771D49-6802-E877-3279-7FC7BB365C96}" dt="2024-11-19T18:48:51.512" v="8" actId="14100"/>
        <pc:sldMkLst>
          <pc:docMk/>
          <pc:sldMk cId="3166742334" sldId="10464"/>
        </pc:sldMkLst>
        <pc:spChg chg="mod">
          <ac:chgData name="Sandy Chu" userId="S::schu@njeda.com::f65ec5ca-18ae-4c75-bec6-95a71a9e243e" providerId="AD" clId="Web-{AD771D49-6802-E877-3279-7FC7BB365C96}" dt="2024-11-19T18:48:51.512" v="8" actId="14100"/>
          <ac:spMkLst>
            <pc:docMk/>
            <pc:sldMk cId="3166742334" sldId="10464"/>
            <ac:spMk id="4" creationId="{47B039D0-B8B7-4B1E-94D2-2D8FC5696249}"/>
          </ac:spMkLst>
        </pc:spChg>
        <pc:spChg chg="mod">
          <ac:chgData name="Sandy Chu" userId="S::schu@njeda.com::f65ec5ca-18ae-4c75-bec6-95a71a9e243e" providerId="AD" clId="Web-{AD771D49-6802-E877-3279-7FC7BB365C96}" dt="2024-11-19T18:48:36.746" v="5" actId="20577"/>
          <ac:spMkLst>
            <pc:docMk/>
            <pc:sldMk cId="3166742334" sldId="10464"/>
            <ac:spMk id="20" creationId="{B9266A61-0D93-4F98-AF1D-EB60F63B0D14}"/>
          </ac:spMkLst>
        </pc:spChg>
      </pc:sldChg>
      <pc:sldChg chg="addSp modSp">
        <pc:chgData name="Sandy Chu" userId="S::schu@njeda.com::f65ec5ca-18ae-4c75-bec6-95a71a9e243e" providerId="AD" clId="Web-{AD771D49-6802-E877-3279-7FC7BB365C96}" dt="2024-11-19T19:26:21.915" v="55" actId="1076"/>
        <pc:sldMkLst>
          <pc:docMk/>
          <pc:sldMk cId="3345767715" sldId="10468"/>
        </pc:sldMkLst>
        <pc:spChg chg="mod">
          <ac:chgData name="Sandy Chu" userId="S::schu@njeda.com::f65ec5ca-18ae-4c75-bec6-95a71a9e243e" providerId="AD" clId="Web-{AD771D49-6802-E877-3279-7FC7BB365C96}" dt="2024-11-19T19:26:21.915" v="55" actId="1076"/>
          <ac:spMkLst>
            <pc:docMk/>
            <pc:sldMk cId="3345767715" sldId="10468"/>
            <ac:spMk id="10" creationId="{5B9C3762-13FF-DF03-689B-0E096EDD6552}"/>
          </ac:spMkLst>
        </pc:spChg>
        <pc:spChg chg="add mod ord">
          <ac:chgData name="Sandy Chu" userId="S::schu@njeda.com::f65ec5ca-18ae-4c75-bec6-95a71a9e243e" providerId="AD" clId="Web-{AD771D49-6802-E877-3279-7FC7BB365C96}" dt="2024-11-19T19:26:17.681" v="54"/>
          <ac:spMkLst>
            <pc:docMk/>
            <pc:sldMk cId="3345767715" sldId="10468"/>
            <ac:spMk id="14988" creationId="{DB0C81E4-275C-3FEB-87D6-8AAD3F0EDA96}"/>
          </ac:spMkLst>
        </pc:spChg>
        <pc:picChg chg="ord">
          <ac:chgData name="Sandy Chu" userId="S::schu@njeda.com::f65ec5ca-18ae-4c75-bec6-95a71a9e243e" providerId="AD" clId="Web-{AD771D49-6802-E877-3279-7FC7BB365C96}" dt="2024-11-19T19:26:12.603" v="53"/>
          <ac:picMkLst>
            <pc:docMk/>
            <pc:sldMk cId="3345767715" sldId="10468"/>
            <ac:picMk id="14986" creationId="{45D5C1F9-6456-8124-A0B1-78C9EC4F9329}"/>
          </ac:picMkLst>
        </pc:picChg>
      </pc:sldChg>
    </pc:docChg>
  </pc:docChgLst>
  <pc:docChgLst>
    <pc:chgData name="Mercades White" userId="S::mercades.white@njeda.com::137165ca-eb07-4c6a-9b46-6d9cd54dc049" providerId="AD" clId="Web-{E4629399-6208-7AA2-FA4C-90A1923CF4B8}"/>
    <pc:docChg chg="modSld">
      <pc:chgData name="Mercades White" userId="S::mercades.white@njeda.com::137165ca-eb07-4c6a-9b46-6d9cd54dc049" providerId="AD" clId="Web-{E4629399-6208-7AA2-FA4C-90A1923CF4B8}" dt="2024-11-20T21:14:49.269" v="46" actId="20577"/>
      <pc:docMkLst>
        <pc:docMk/>
      </pc:docMkLst>
      <pc:sldChg chg="modSp modNotes">
        <pc:chgData name="Mercades White" userId="S::mercades.white@njeda.com::137165ca-eb07-4c6a-9b46-6d9cd54dc049" providerId="AD" clId="Web-{E4629399-6208-7AA2-FA4C-90A1923CF4B8}" dt="2024-11-20T21:11:24.881" v="42"/>
        <pc:sldMkLst>
          <pc:docMk/>
          <pc:sldMk cId="1311731828" sldId="10318"/>
        </pc:sldMkLst>
        <pc:spChg chg="mod">
          <ac:chgData name="Mercades White" userId="S::mercades.white@njeda.com::137165ca-eb07-4c6a-9b46-6d9cd54dc049" providerId="AD" clId="Web-{E4629399-6208-7AA2-FA4C-90A1923CF4B8}" dt="2024-11-20T21:07:14.633" v="39" actId="1076"/>
          <ac:spMkLst>
            <pc:docMk/>
            <pc:sldMk cId="1311731828" sldId="10318"/>
            <ac:spMk id="10" creationId="{3E22D651-1966-4349-B6A8-C738AE2219BE}"/>
          </ac:spMkLst>
        </pc:spChg>
        <pc:grpChg chg="mod">
          <ac:chgData name="Mercades White" userId="S::mercades.white@njeda.com::137165ca-eb07-4c6a-9b46-6d9cd54dc049" providerId="AD" clId="Web-{E4629399-6208-7AA2-FA4C-90A1923CF4B8}" dt="2024-11-20T21:07:20.087" v="40" actId="1076"/>
          <ac:grpSpMkLst>
            <pc:docMk/>
            <pc:sldMk cId="1311731828" sldId="10318"/>
            <ac:grpSpMk id="57" creationId="{51ECBCEC-CA5F-472A-9F90-76C94459EADE}"/>
          </ac:grpSpMkLst>
        </pc:grpChg>
      </pc:sldChg>
      <pc:sldChg chg="modNotes">
        <pc:chgData name="Mercades White" userId="S::mercades.white@njeda.com::137165ca-eb07-4c6a-9b46-6d9cd54dc049" providerId="AD" clId="Web-{E4629399-6208-7AA2-FA4C-90A1923CF4B8}" dt="2024-11-20T21:06:42.071" v="37"/>
        <pc:sldMkLst>
          <pc:docMk/>
          <pc:sldMk cId="1983493573" sldId="10442"/>
        </pc:sldMkLst>
      </pc:sldChg>
      <pc:sldChg chg="modSp">
        <pc:chgData name="Mercades White" userId="S::mercades.white@njeda.com::137165ca-eb07-4c6a-9b46-6d9cd54dc049" providerId="AD" clId="Web-{E4629399-6208-7AA2-FA4C-90A1923CF4B8}" dt="2024-11-20T21:14:49.269" v="46" actId="20577"/>
        <pc:sldMkLst>
          <pc:docMk/>
          <pc:sldMk cId="2763333697" sldId="10448"/>
        </pc:sldMkLst>
        <pc:spChg chg="mod">
          <ac:chgData name="Mercades White" userId="S::mercades.white@njeda.com::137165ca-eb07-4c6a-9b46-6d9cd54dc049" providerId="AD" clId="Web-{E4629399-6208-7AA2-FA4C-90A1923CF4B8}" dt="2024-11-20T21:14:49.269" v="46" actId="20577"/>
          <ac:spMkLst>
            <pc:docMk/>
            <pc:sldMk cId="2763333697" sldId="10448"/>
            <ac:spMk id="8" creationId="{6566E862-B69A-7E58-45F2-F19BB74C2EF4}"/>
          </ac:spMkLst>
        </pc:spChg>
      </pc:sldChg>
      <pc:sldChg chg="modSp">
        <pc:chgData name="Mercades White" userId="S::mercades.white@njeda.com::137165ca-eb07-4c6a-9b46-6d9cd54dc049" providerId="AD" clId="Web-{E4629399-6208-7AA2-FA4C-90A1923CF4B8}" dt="2024-11-19T19:08:35.565" v="8" actId="20577"/>
        <pc:sldMkLst>
          <pc:docMk/>
          <pc:sldMk cId="558820911" sldId="10450"/>
        </pc:sldMkLst>
        <pc:graphicFrameChg chg="modGraphic">
          <ac:chgData name="Mercades White" userId="S::mercades.white@njeda.com::137165ca-eb07-4c6a-9b46-6d9cd54dc049" providerId="AD" clId="Web-{E4629399-6208-7AA2-FA4C-90A1923CF4B8}" dt="2024-11-19T19:08:35.565" v="8" actId="20577"/>
          <ac:graphicFrameMkLst>
            <pc:docMk/>
            <pc:sldMk cId="558820911" sldId="10450"/>
            <ac:graphicFrameMk id="21" creationId="{E9713E1E-8E7D-2AE9-3059-2A182A0B693A}"/>
          </ac:graphicFrameMkLst>
        </pc:graphicFrameChg>
      </pc:sldChg>
      <pc:sldChg chg="modNotes">
        <pc:chgData name="Mercades White" userId="S::mercades.white@njeda.com::137165ca-eb07-4c6a-9b46-6d9cd54dc049" providerId="AD" clId="Web-{E4629399-6208-7AA2-FA4C-90A1923CF4B8}" dt="2024-11-20T20:53:30.783" v="19"/>
        <pc:sldMkLst>
          <pc:docMk/>
          <pc:sldMk cId="3504540828" sldId="10461"/>
        </pc:sldMkLst>
      </pc:sldChg>
      <pc:sldChg chg="modSp modNotes">
        <pc:chgData name="Mercades White" userId="S::mercades.white@njeda.com::137165ca-eb07-4c6a-9b46-6d9cd54dc049" providerId="AD" clId="Web-{E4629399-6208-7AA2-FA4C-90A1923CF4B8}" dt="2024-11-20T20:55:34.078" v="33" actId="14100"/>
        <pc:sldMkLst>
          <pc:docMk/>
          <pc:sldMk cId="3345767715" sldId="10468"/>
        </pc:sldMkLst>
        <pc:spChg chg="mod">
          <ac:chgData name="Mercades White" userId="S::mercades.white@njeda.com::137165ca-eb07-4c6a-9b46-6d9cd54dc049" providerId="AD" clId="Web-{E4629399-6208-7AA2-FA4C-90A1923CF4B8}" dt="2024-11-20T20:55:34.078" v="33" actId="14100"/>
          <ac:spMkLst>
            <pc:docMk/>
            <pc:sldMk cId="3345767715" sldId="10468"/>
            <ac:spMk id="4" creationId="{28846917-2447-1EE3-2F52-F7806E3D3DD9}"/>
          </ac:spMkLst>
        </pc:spChg>
      </pc:sldChg>
    </pc:docChg>
  </pc:docChgLst>
  <pc:docChgLst>
    <pc:chgData name="Mercades White" userId="S::mercades.white@njeda.com::137165ca-eb07-4c6a-9b46-6d9cd54dc049" providerId="AD" clId="Web-{B235FF65-9E8A-FD1E-A45C-7FEC8A2833A4}"/>
    <pc:docChg chg="modSld">
      <pc:chgData name="Mercades White" userId="S::mercades.white@njeda.com::137165ca-eb07-4c6a-9b46-6d9cd54dc049" providerId="AD" clId="Web-{B235FF65-9E8A-FD1E-A45C-7FEC8A2833A4}" dt="2024-11-22T08:00:33.681" v="613"/>
      <pc:docMkLst>
        <pc:docMk/>
      </pc:docMkLst>
      <pc:sldChg chg="modNotes">
        <pc:chgData name="Mercades White" userId="S::mercades.white@njeda.com::137165ca-eb07-4c6a-9b46-6d9cd54dc049" providerId="AD" clId="Web-{B235FF65-9E8A-FD1E-A45C-7FEC8A2833A4}" dt="2024-11-22T07:10:21.652" v="488"/>
        <pc:sldMkLst>
          <pc:docMk/>
          <pc:sldMk cId="1841417796" sldId="289"/>
        </pc:sldMkLst>
      </pc:sldChg>
      <pc:sldChg chg="modNotes">
        <pc:chgData name="Mercades White" userId="S::mercades.white@njeda.com::137165ca-eb07-4c6a-9b46-6d9cd54dc049" providerId="AD" clId="Web-{B235FF65-9E8A-FD1E-A45C-7FEC8A2833A4}" dt="2024-11-22T06:14:34.096" v="49"/>
        <pc:sldMkLst>
          <pc:docMk/>
          <pc:sldMk cId="3775059488" sldId="415"/>
        </pc:sldMkLst>
      </pc:sldChg>
      <pc:sldChg chg="modNotes">
        <pc:chgData name="Mercades White" userId="S::mercades.white@njeda.com::137165ca-eb07-4c6a-9b46-6d9cd54dc049" providerId="AD" clId="Web-{B235FF65-9E8A-FD1E-A45C-7FEC8A2833A4}" dt="2024-11-22T06:09:18.660" v="10"/>
        <pc:sldMkLst>
          <pc:docMk/>
          <pc:sldMk cId="1311731828" sldId="10318"/>
        </pc:sldMkLst>
      </pc:sldChg>
      <pc:sldChg chg="modNotes">
        <pc:chgData name="Mercades White" userId="S::mercades.white@njeda.com::137165ca-eb07-4c6a-9b46-6d9cd54dc049" providerId="AD" clId="Web-{B235FF65-9E8A-FD1E-A45C-7FEC8A2833A4}" dt="2024-11-22T07:43:32.197" v="605"/>
        <pc:sldMkLst>
          <pc:docMk/>
          <pc:sldMk cId="4049807419" sldId="10406"/>
        </pc:sldMkLst>
      </pc:sldChg>
      <pc:sldChg chg="modNotes">
        <pc:chgData name="Mercades White" userId="S::mercades.white@njeda.com::137165ca-eb07-4c6a-9b46-6d9cd54dc049" providerId="AD" clId="Web-{B235FF65-9E8A-FD1E-A45C-7FEC8A2833A4}" dt="2024-11-22T08:00:33.681" v="613"/>
        <pc:sldMkLst>
          <pc:docMk/>
          <pc:sldMk cId="3157222570" sldId="10415"/>
        </pc:sldMkLst>
      </pc:sldChg>
      <pc:sldChg chg="modNotes">
        <pc:chgData name="Mercades White" userId="S::mercades.white@njeda.com::137165ca-eb07-4c6a-9b46-6d9cd54dc049" providerId="AD" clId="Web-{B235FF65-9E8A-FD1E-A45C-7FEC8A2833A4}" dt="2024-11-22T07:16:01.211" v="511"/>
        <pc:sldMkLst>
          <pc:docMk/>
          <pc:sldMk cId="3521265717" sldId="10424"/>
        </pc:sldMkLst>
      </pc:sldChg>
      <pc:sldChg chg="modNotes">
        <pc:chgData name="Mercades White" userId="S::mercades.white@njeda.com::137165ca-eb07-4c6a-9b46-6d9cd54dc049" providerId="AD" clId="Web-{B235FF65-9E8A-FD1E-A45C-7FEC8A2833A4}" dt="2024-11-22T06:06:06.406" v="4"/>
        <pc:sldMkLst>
          <pc:docMk/>
          <pc:sldMk cId="1983493573" sldId="10442"/>
        </pc:sldMkLst>
      </pc:sldChg>
      <pc:sldChg chg="modSp modNotes">
        <pc:chgData name="Mercades White" userId="S::mercades.white@njeda.com::137165ca-eb07-4c6a-9b46-6d9cd54dc049" providerId="AD" clId="Web-{B235FF65-9E8A-FD1E-A45C-7FEC8A2833A4}" dt="2024-11-22T06:17:15.422" v="56"/>
        <pc:sldMkLst>
          <pc:docMk/>
          <pc:sldMk cId="2225429262" sldId="10443"/>
        </pc:sldMkLst>
        <pc:spChg chg="mod">
          <ac:chgData name="Mercades White" userId="S::mercades.white@njeda.com::137165ca-eb07-4c6a-9b46-6d9cd54dc049" providerId="AD" clId="Web-{B235FF65-9E8A-FD1E-A45C-7FEC8A2833A4}" dt="2024-11-22T06:15:44.580" v="54" actId="14100"/>
          <ac:spMkLst>
            <pc:docMk/>
            <pc:sldMk cId="2225429262" sldId="10443"/>
            <ac:spMk id="4" creationId="{333740E4-B60B-C78F-E698-E2E7311C4038}"/>
          </ac:spMkLst>
        </pc:spChg>
      </pc:sldChg>
      <pc:sldChg chg="modNotes">
        <pc:chgData name="Mercades White" userId="S::mercades.white@njeda.com::137165ca-eb07-4c6a-9b46-6d9cd54dc049" providerId="AD" clId="Web-{B235FF65-9E8A-FD1E-A45C-7FEC8A2833A4}" dt="2024-11-22T07:46:05.446" v="608"/>
        <pc:sldMkLst>
          <pc:docMk/>
          <pc:sldMk cId="3613173206" sldId="10444"/>
        </pc:sldMkLst>
      </pc:sldChg>
      <pc:sldChg chg="delSp modSp modNotes">
        <pc:chgData name="Mercades White" userId="S::mercades.white@njeda.com::137165ca-eb07-4c6a-9b46-6d9cd54dc049" providerId="AD" clId="Web-{B235FF65-9E8A-FD1E-A45C-7FEC8A2833A4}" dt="2024-11-22T06:24:51.670" v="60"/>
        <pc:sldMkLst>
          <pc:docMk/>
          <pc:sldMk cId="2763333697" sldId="10448"/>
        </pc:sldMkLst>
        <pc:spChg chg="del mod">
          <ac:chgData name="Mercades White" userId="S::mercades.white@njeda.com::137165ca-eb07-4c6a-9b46-6d9cd54dc049" providerId="AD" clId="Web-{B235FF65-9E8A-FD1E-A45C-7FEC8A2833A4}" dt="2024-11-21T18:38:41.758" v="2"/>
          <ac:spMkLst>
            <pc:docMk/>
            <pc:sldMk cId="2763333697" sldId="10448"/>
            <ac:spMk id="3" creationId="{AD3D084E-E6DD-4B3A-852A-6439F0CA353B}"/>
          </ac:spMkLst>
        </pc:spChg>
      </pc:sldChg>
      <pc:sldChg chg="modNotes">
        <pc:chgData name="Mercades White" userId="S::mercades.white@njeda.com::137165ca-eb07-4c6a-9b46-6d9cd54dc049" providerId="AD" clId="Web-{B235FF65-9E8A-FD1E-A45C-7FEC8A2833A4}" dt="2024-11-22T08:00:17.306" v="611"/>
        <pc:sldMkLst>
          <pc:docMk/>
          <pc:sldMk cId="558820911" sldId="10450"/>
        </pc:sldMkLst>
      </pc:sldChg>
      <pc:sldChg chg="modNotes">
        <pc:chgData name="Mercades White" userId="S::mercades.white@njeda.com::137165ca-eb07-4c6a-9b46-6d9cd54dc049" providerId="AD" clId="Web-{B235FF65-9E8A-FD1E-A45C-7FEC8A2833A4}" dt="2024-11-22T07:33:56.515" v="584"/>
        <pc:sldMkLst>
          <pc:docMk/>
          <pc:sldMk cId="3849043843" sldId="10451"/>
        </pc:sldMkLst>
      </pc:sldChg>
      <pc:sldChg chg="modNotes">
        <pc:chgData name="Mercades White" userId="S::mercades.white@njeda.com::137165ca-eb07-4c6a-9b46-6d9cd54dc049" providerId="AD" clId="Web-{B235FF65-9E8A-FD1E-A45C-7FEC8A2833A4}" dt="2024-11-22T06:13:22.003" v="46"/>
        <pc:sldMkLst>
          <pc:docMk/>
          <pc:sldMk cId="2469428523" sldId="10454"/>
        </pc:sldMkLst>
      </pc:sldChg>
      <pc:sldChg chg="modSp modNotes">
        <pc:chgData name="Mercades White" userId="S::mercades.white@njeda.com::137165ca-eb07-4c6a-9b46-6d9cd54dc049" providerId="AD" clId="Web-{B235FF65-9E8A-FD1E-A45C-7FEC8A2833A4}" dt="2024-11-22T07:18:28.178" v="515"/>
        <pc:sldMkLst>
          <pc:docMk/>
          <pc:sldMk cId="2843911602" sldId="10456"/>
        </pc:sldMkLst>
        <pc:spChg chg="mod">
          <ac:chgData name="Mercades White" userId="S::mercades.white@njeda.com::137165ca-eb07-4c6a-9b46-6d9cd54dc049" providerId="AD" clId="Web-{B235FF65-9E8A-FD1E-A45C-7FEC8A2833A4}" dt="2024-11-22T07:17:17.210" v="513" actId="1076"/>
          <ac:spMkLst>
            <pc:docMk/>
            <pc:sldMk cId="2843911602" sldId="10456"/>
            <ac:spMk id="3" creationId="{6FA7B2CE-932C-3EC8-1010-3B6F57B73027}"/>
          </ac:spMkLst>
        </pc:spChg>
      </pc:sldChg>
      <pc:sldChg chg="modNotes">
        <pc:chgData name="Mercades White" userId="S::mercades.white@njeda.com::137165ca-eb07-4c6a-9b46-6d9cd54dc049" providerId="AD" clId="Web-{B235FF65-9E8A-FD1E-A45C-7FEC8A2833A4}" dt="2024-11-22T07:30:17.018" v="572"/>
        <pc:sldMkLst>
          <pc:docMk/>
          <pc:sldMk cId="1016317610" sldId="10462"/>
        </pc:sldMkLst>
      </pc:sldChg>
      <pc:sldChg chg="modNotes">
        <pc:chgData name="Mercades White" userId="S::mercades.white@njeda.com::137165ca-eb07-4c6a-9b46-6d9cd54dc049" providerId="AD" clId="Web-{B235FF65-9E8A-FD1E-A45C-7FEC8A2833A4}" dt="2024-11-22T07:15:09.024" v="506"/>
        <pc:sldMkLst>
          <pc:docMk/>
          <pc:sldMk cId="2009253195" sldId="10465"/>
        </pc:sldMkLst>
      </pc:sldChg>
      <pc:sldChg chg="modSp modNotes">
        <pc:chgData name="Mercades White" userId="S::mercades.white@njeda.com::137165ca-eb07-4c6a-9b46-6d9cd54dc049" providerId="AD" clId="Web-{B235FF65-9E8A-FD1E-A45C-7FEC8A2833A4}" dt="2024-11-22T06:45:32.421" v="206"/>
        <pc:sldMkLst>
          <pc:docMk/>
          <pc:sldMk cId="2470773452" sldId="10467"/>
        </pc:sldMkLst>
        <pc:spChg chg="mod">
          <ac:chgData name="Mercades White" userId="S::mercades.white@njeda.com::137165ca-eb07-4c6a-9b46-6d9cd54dc049" providerId="AD" clId="Web-{B235FF65-9E8A-FD1E-A45C-7FEC8A2833A4}" dt="2024-11-22T06:36:14.068" v="92" actId="14100"/>
          <ac:spMkLst>
            <pc:docMk/>
            <pc:sldMk cId="2470773452" sldId="10467"/>
            <ac:spMk id="276" creationId="{89405599-207D-1849-4B3D-C86A2A550750}"/>
          </ac:spMkLst>
        </pc:spChg>
      </pc:sldChg>
      <pc:sldChg chg="modNotes">
        <pc:chgData name="Mercades White" userId="S::mercades.white@njeda.com::137165ca-eb07-4c6a-9b46-6d9cd54dc049" providerId="AD" clId="Web-{B235FF65-9E8A-FD1E-A45C-7FEC8A2833A4}" dt="2024-11-22T06:32:50.399" v="89"/>
        <pc:sldMkLst>
          <pc:docMk/>
          <pc:sldMk cId="3345767715" sldId="10468"/>
        </pc:sldMkLst>
      </pc:sldChg>
      <pc:sldChg chg="modNotes">
        <pc:chgData name="Mercades White" userId="S::mercades.white@njeda.com::137165ca-eb07-4c6a-9b46-6d9cd54dc049" providerId="AD" clId="Web-{B235FF65-9E8A-FD1E-A45C-7FEC8A2833A4}" dt="2024-11-22T07:20:43.801" v="534"/>
        <pc:sldMkLst>
          <pc:docMk/>
          <pc:sldMk cId="2485692771" sldId="10469"/>
        </pc:sldMkLst>
      </pc:sldChg>
    </pc:docChg>
  </pc:docChgLst>
  <pc:docChgLst>
    <pc:chgData name="Sandy Chu" userId="S::schu@njeda.com::f65ec5ca-18ae-4c75-bec6-95a71a9e243e" providerId="AD" clId="Web-{73EBF9B2-0673-5905-5AE2-DAECED3E29C5}"/>
    <pc:docChg chg="modSld">
      <pc:chgData name="Sandy Chu" userId="S::schu@njeda.com::f65ec5ca-18ae-4c75-bec6-95a71a9e243e" providerId="AD" clId="Web-{73EBF9B2-0673-5905-5AE2-DAECED3E29C5}" dt="2024-11-19T19:29:09.379" v="6" actId="1076"/>
      <pc:docMkLst>
        <pc:docMk/>
      </pc:docMkLst>
      <pc:sldChg chg="modSp">
        <pc:chgData name="Sandy Chu" userId="S::schu@njeda.com::f65ec5ca-18ae-4c75-bec6-95a71a9e243e" providerId="AD" clId="Web-{73EBF9B2-0673-5905-5AE2-DAECED3E29C5}" dt="2024-11-19T19:29:09.379" v="6" actId="1076"/>
        <pc:sldMkLst>
          <pc:docMk/>
          <pc:sldMk cId="3345767715" sldId="10468"/>
        </pc:sldMkLst>
        <pc:spChg chg="mod">
          <ac:chgData name="Sandy Chu" userId="S::schu@njeda.com::f65ec5ca-18ae-4c75-bec6-95a71a9e243e" providerId="AD" clId="Web-{73EBF9B2-0673-5905-5AE2-DAECED3E29C5}" dt="2024-11-19T19:28:54.785" v="4" actId="1076"/>
          <ac:spMkLst>
            <pc:docMk/>
            <pc:sldMk cId="3345767715" sldId="10468"/>
            <ac:spMk id="10" creationId="{5B9C3762-13FF-DF03-689B-0E096EDD6552}"/>
          </ac:spMkLst>
        </pc:spChg>
        <pc:spChg chg="mod">
          <ac:chgData name="Sandy Chu" userId="S::schu@njeda.com::f65ec5ca-18ae-4c75-bec6-95a71a9e243e" providerId="AD" clId="Web-{73EBF9B2-0673-5905-5AE2-DAECED3E29C5}" dt="2024-11-19T19:29:09.379" v="6" actId="1076"/>
          <ac:spMkLst>
            <pc:docMk/>
            <pc:sldMk cId="3345767715" sldId="10468"/>
            <ac:spMk id="14988" creationId="{DB0C81E4-275C-3FEB-87D6-8AAD3F0EDA96}"/>
          </ac:spMkLst>
        </pc:spChg>
        <pc:picChg chg="mod">
          <ac:chgData name="Sandy Chu" userId="S::schu@njeda.com::f65ec5ca-18ae-4c75-bec6-95a71a9e243e" providerId="AD" clId="Web-{73EBF9B2-0673-5905-5AE2-DAECED3E29C5}" dt="2024-11-19T19:28:59.894" v="5" actId="1076"/>
          <ac:picMkLst>
            <pc:docMk/>
            <pc:sldMk cId="3345767715" sldId="10468"/>
            <ac:picMk id="14986" creationId="{45D5C1F9-6456-8124-A0B1-78C9EC4F9329}"/>
          </ac:picMkLst>
        </pc:picChg>
      </pc:sldChg>
    </pc:docChg>
  </pc:docChgLst>
  <pc:docChgLst>
    <pc:chgData name="Sandy Chu" userId="S::schu@njeda.com::f65ec5ca-18ae-4c75-bec6-95a71a9e243e" providerId="AD" clId="Web-{7B39EEA1-96CB-4EB8-95A6-C008ED58B157}"/>
    <pc:docChg chg="modSld">
      <pc:chgData name="Sandy Chu" userId="S::schu@njeda.com::f65ec5ca-18ae-4c75-bec6-95a71a9e243e" providerId="AD" clId="Web-{7B39EEA1-96CB-4EB8-95A6-C008ED58B157}" dt="2024-11-21T19:40:16.991" v="6" actId="14100"/>
      <pc:docMkLst>
        <pc:docMk/>
      </pc:docMkLst>
      <pc:sldChg chg="modSp">
        <pc:chgData name="Sandy Chu" userId="S::schu@njeda.com::f65ec5ca-18ae-4c75-bec6-95a71a9e243e" providerId="AD" clId="Web-{7B39EEA1-96CB-4EB8-95A6-C008ED58B157}" dt="2024-11-21T19:40:16.991" v="6" actId="14100"/>
        <pc:sldMkLst>
          <pc:docMk/>
          <pc:sldMk cId="4049807419" sldId="10406"/>
        </pc:sldMkLst>
        <pc:spChg chg="mod">
          <ac:chgData name="Sandy Chu" userId="S::schu@njeda.com::f65ec5ca-18ae-4c75-bec6-95a71a9e243e" providerId="AD" clId="Web-{7B39EEA1-96CB-4EB8-95A6-C008ED58B157}" dt="2024-11-21T19:40:16.991" v="6" actId="14100"/>
          <ac:spMkLst>
            <pc:docMk/>
            <pc:sldMk cId="4049807419" sldId="10406"/>
            <ac:spMk id="9" creationId="{CE9DE670-C300-4A13-BEEB-3C129B11B3A3}"/>
          </ac:spMkLst>
        </pc:spChg>
      </pc:sldChg>
      <pc:sldChg chg="modSp">
        <pc:chgData name="Sandy Chu" userId="S::schu@njeda.com::f65ec5ca-18ae-4c75-bec6-95a71a9e243e" providerId="AD" clId="Web-{7B39EEA1-96CB-4EB8-95A6-C008ED58B157}" dt="2024-11-21T19:37:34.915" v="3" actId="20577"/>
        <pc:sldMkLst>
          <pc:docMk/>
          <pc:sldMk cId="3504540828" sldId="10461"/>
        </pc:sldMkLst>
        <pc:spChg chg="mod">
          <ac:chgData name="Sandy Chu" userId="S::schu@njeda.com::f65ec5ca-18ae-4c75-bec6-95a71a9e243e" providerId="AD" clId="Web-{7B39EEA1-96CB-4EB8-95A6-C008ED58B157}" dt="2024-11-21T19:37:34.915" v="3" actId="20577"/>
          <ac:spMkLst>
            <pc:docMk/>
            <pc:sldMk cId="3504540828" sldId="10461"/>
            <ac:spMk id="5" creationId="{927CF340-AD22-7CA0-9E97-41E759B92165}"/>
          </ac:spMkLst>
        </pc:spChg>
      </pc:sldChg>
    </pc:docChg>
  </pc:docChgLst>
  <pc:docChgLst>
    <pc:chgData name="Mercades White" userId="S::mercades.white@njeda.com::137165ca-eb07-4c6a-9b46-6d9cd54dc049" providerId="AD" clId="Web-{0E3DF2CD-E85E-CE75-B148-0AD9D8C2FE6A}"/>
    <pc:docChg chg="addSld modSld sldOrd">
      <pc:chgData name="Mercades White" userId="S::mercades.white@njeda.com::137165ca-eb07-4c6a-9b46-6d9cd54dc049" providerId="AD" clId="Web-{0E3DF2CD-E85E-CE75-B148-0AD9D8C2FE6A}" dt="2024-11-22T14:43:12.498" v="149"/>
      <pc:docMkLst>
        <pc:docMk/>
      </pc:docMkLst>
      <pc:sldChg chg="modSp">
        <pc:chgData name="Mercades White" userId="S::mercades.white@njeda.com::137165ca-eb07-4c6a-9b46-6d9cd54dc049" providerId="AD" clId="Web-{0E3DF2CD-E85E-CE75-B148-0AD9D8C2FE6A}" dt="2024-11-21T17:40:00.044" v="21" actId="20577"/>
        <pc:sldMkLst>
          <pc:docMk/>
          <pc:sldMk cId="1311731828" sldId="10318"/>
        </pc:sldMkLst>
        <pc:spChg chg="mod">
          <ac:chgData name="Mercades White" userId="S::mercades.white@njeda.com::137165ca-eb07-4c6a-9b46-6d9cd54dc049" providerId="AD" clId="Web-{0E3DF2CD-E85E-CE75-B148-0AD9D8C2FE6A}" dt="2024-11-21T17:39:51.544" v="19" actId="20577"/>
          <ac:spMkLst>
            <pc:docMk/>
            <pc:sldMk cId="1311731828" sldId="10318"/>
            <ac:spMk id="9" creationId="{D677F217-7259-48F1-B6A0-A184560AD64D}"/>
          </ac:spMkLst>
        </pc:spChg>
        <pc:spChg chg="mod">
          <ac:chgData name="Mercades White" userId="S::mercades.white@njeda.com::137165ca-eb07-4c6a-9b46-6d9cd54dc049" providerId="AD" clId="Web-{0E3DF2CD-E85E-CE75-B148-0AD9D8C2FE6A}" dt="2024-11-21T17:40:00.044" v="21" actId="20577"/>
          <ac:spMkLst>
            <pc:docMk/>
            <pc:sldMk cId="1311731828" sldId="10318"/>
            <ac:spMk id="19" creationId="{AE213D7C-F974-4D71-8D9A-FE8325C368B0}"/>
          </ac:spMkLst>
        </pc:spChg>
        <pc:spChg chg="mod">
          <ac:chgData name="Mercades White" userId="S::mercades.white@njeda.com::137165ca-eb07-4c6a-9b46-6d9cd54dc049" providerId="AD" clId="Web-{0E3DF2CD-E85E-CE75-B148-0AD9D8C2FE6A}" dt="2024-11-21T17:39:56.622" v="20" actId="20577"/>
          <ac:spMkLst>
            <pc:docMk/>
            <pc:sldMk cId="1311731828" sldId="10318"/>
            <ac:spMk id="21" creationId="{F8386A95-D2CA-4EA1-A001-CFD1C6E8B798}"/>
          </ac:spMkLst>
        </pc:spChg>
      </pc:sldChg>
      <pc:sldChg chg="addSp delSp modSp">
        <pc:chgData name="Mercades White" userId="S::mercades.white@njeda.com::137165ca-eb07-4c6a-9b46-6d9cd54dc049" providerId="AD" clId="Web-{0E3DF2CD-E85E-CE75-B148-0AD9D8C2FE6A}" dt="2024-11-21T17:07:00.174" v="16" actId="1076"/>
        <pc:sldMkLst>
          <pc:docMk/>
          <pc:sldMk cId="4049807419" sldId="10406"/>
        </pc:sldMkLst>
        <pc:spChg chg="mod">
          <ac:chgData name="Mercades White" userId="S::mercades.white@njeda.com::137165ca-eb07-4c6a-9b46-6d9cd54dc049" providerId="AD" clId="Web-{0E3DF2CD-E85E-CE75-B148-0AD9D8C2FE6A}" dt="2024-11-21T16:51:31.242" v="11" actId="1076"/>
          <ac:spMkLst>
            <pc:docMk/>
            <pc:sldMk cId="4049807419" sldId="10406"/>
            <ac:spMk id="3" creationId="{9F83EA7B-2EB6-7203-4CF6-46A05D3B81BA}"/>
          </ac:spMkLst>
        </pc:spChg>
        <pc:spChg chg="mod">
          <ac:chgData name="Mercades White" userId="S::mercades.white@njeda.com::137165ca-eb07-4c6a-9b46-6d9cd54dc049" providerId="AD" clId="Web-{0E3DF2CD-E85E-CE75-B148-0AD9D8C2FE6A}" dt="2024-11-21T16:52:56.586" v="15" actId="20577"/>
          <ac:spMkLst>
            <pc:docMk/>
            <pc:sldMk cId="4049807419" sldId="10406"/>
            <ac:spMk id="9" creationId="{CE9DE670-C300-4A13-BEEB-3C129B11B3A3}"/>
          </ac:spMkLst>
        </pc:spChg>
        <pc:spChg chg="mod">
          <ac:chgData name="Mercades White" userId="S::mercades.white@njeda.com::137165ca-eb07-4c6a-9b46-6d9cd54dc049" providerId="AD" clId="Web-{0E3DF2CD-E85E-CE75-B148-0AD9D8C2FE6A}" dt="2024-11-21T17:07:00.174" v="16" actId="1076"/>
          <ac:spMkLst>
            <pc:docMk/>
            <pc:sldMk cId="4049807419" sldId="10406"/>
            <ac:spMk id="12" creationId="{0D4347BA-D7EA-BE9A-2E1F-4D8F5170F889}"/>
          </ac:spMkLst>
        </pc:spChg>
        <pc:spChg chg="mod">
          <ac:chgData name="Mercades White" userId="S::mercades.white@njeda.com::137165ca-eb07-4c6a-9b46-6d9cd54dc049" providerId="AD" clId="Web-{0E3DF2CD-E85E-CE75-B148-0AD9D8C2FE6A}" dt="2024-11-21T16:51:22.835" v="10" actId="1076"/>
          <ac:spMkLst>
            <pc:docMk/>
            <pc:sldMk cId="4049807419" sldId="10406"/>
            <ac:spMk id="20" creationId="{EE174440-2BFB-4BA0-8146-ECD86B0E871A}"/>
          </ac:spMkLst>
        </pc:spChg>
        <pc:picChg chg="add del mod">
          <ac:chgData name="Mercades White" userId="S::mercades.white@njeda.com::137165ca-eb07-4c6a-9b46-6d9cd54dc049" providerId="AD" clId="Web-{0E3DF2CD-E85E-CE75-B148-0AD9D8C2FE6A}" dt="2024-11-21T16:48:31.724" v="4"/>
          <ac:picMkLst>
            <pc:docMk/>
            <pc:sldMk cId="4049807419" sldId="10406"/>
            <ac:picMk id="8" creationId="{EC2CB278-3A2B-425C-FBDB-62524940A60C}"/>
          </ac:picMkLst>
        </pc:picChg>
      </pc:sldChg>
      <pc:sldChg chg="modNotes">
        <pc:chgData name="Mercades White" userId="S::mercades.white@njeda.com::137165ca-eb07-4c6a-9b46-6d9cd54dc049" providerId="AD" clId="Web-{0E3DF2CD-E85E-CE75-B148-0AD9D8C2FE6A}" dt="2024-11-22T14:43:12.498" v="149"/>
        <pc:sldMkLst>
          <pc:docMk/>
          <pc:sldMk cId="3157222570" sldId="10415"/>
        </pc:sldMkLst>
      </pc:sldChg>
      <pc:sldChg chg="modNotes">
        <pc:chgData name="Mercades White" userId="S::mercades.white@njeda.com::137165ca-eb07-4c6a-9b46-6d9cd54dc049" providerId="AD" clId="Web-{0E3DF2CD-E85E-CE75-B148-0AD9D8C2FE6A}" dt="2024-11-21T18:24:33.805" v="25"/>
        <pc:sldMkLst>
          <pc:docMk/>
          <pc:sldMk cId="3521265717" sldId="10424"/>
        </pc:sldMkLst>
      </pc:sldChg>
      <pc:sldChg chg="modSp">
        <pc:chgData name="Mercades White" userId="S::mercades.white@njeda.com::137165ca-eb07-4c6a-9b46-6d9cd54dc049" providerId="AD" clId="Web-{0E3DF2CD-E85E-CE75-B148-0AD9D8C2FE6A}" dt="2024-11-21T18:17:36.567" v="23" actId="20577"/>
        <pc:sldMkLst>
          <pc:docMk/>
          <pc:sldMk cId="2763333697" sldId="10448"/>
        </pc:sldMkLst>
        <pc:spChg chg="mod">
          <ac:chgData name="Mercades White" userId="S::mercades.white@njeda.com::137165ca-eb07-4c6a-9b46-6d9cd54dc049" providerId="AD" clId="Web-{0E3DF2CD-E85E-CE75-B148-0AD9D8C2FE6A}" dt="2024-11-21T18:17:36.567" v="23" actId="20577"/>
          <ac:spMkLst>
            <pc:docMk/>
            <pc:sldMk cId="2763333697" sldId="10448"/>
            <ac:spMk id="3" creationId="{AD3D084E-E6DD-4B3A-852A-6439F0CA353B}"/>
          </ac:spMkLst>
        </pc:spChg>
      </pc:sldChg>
      <pc:sldChg chg="modNotes">
        <pc:chgData name="Mercades White" userId="S::mercades.white@njeda.com::137165ca-eb07-4c6a-9b46-6d9cd54dc049" providerId="AD" clId="Web-{0E3DF2CD-E85E-CE75-B148-0AD9D8C2FE6A}" dt="2024-11-21T18:34:23.490" v="50"/>
        <pc:sldMkLst>
          <pc:docMk/>
          <pc:sldMk cId="2470773452" sldId="10467"/>
        </pc:sldMkLst>
      </pc:sldChg>
      <pc:sldChg chg="add ord replId modNotes">
        <pc:chgData name="Mercades White" userId="S::mercades.white@njeda.com::137165ca-eb07-4c6a-9b46-6d9cd54dc049" providerId="AD" clId="Web-{0E3DF2CD-E85E-CE75-B148-0AD9D8C2FE6A}" dt="2024-11-22T14:39:27.357" v="55"/>
        <pc:sldMkLst>
          <pc:docMk/>
          <pc:sldMk cId="789835267" sldId="10470"/>
        </pc:sldMkLst>
      </pc:sldChg>
    </pc:docChg>
  </pc:docChgLst>
  <pc:docChgLst>
    <pc:chgData name="Mercades White" userId="S::mercades.white@njeda.com::137165ca-eb07-4c6a-9b46-6d9cd54dc049" providerId="AD" clId="Web-{E58B1A14-5CC5-2ADF-774C-DC79B9697A58}"/>
    <pc:docChg chg="modSld">
      <pc:chgData name="Mercades White" userId="S::mercades.white@njeda.com::137165ca-eb07-4c6a-9b46-6d9cd54dc049" providerId="AD" clId="Web-{E58B1A14-5CC5-2ADF-774C-DC79B9697A58}" dt="2024-11-19T18:26:52.569" v="163" actId="14100"/>
      <pc:docMkLst>
        <pc:docMk/>
      </pc:docMkLst>
      <pc:sldChg chg="modSp">
        <pc:chgData name="Mercades White" userId="S::mercades.white@njeda.com::137165ca-eb07-4c6a-9b46-6d9cd54dc049" providerId="AD" clId="Web-{E58B1A14-5CC5-2ADF-774C-DC79B9697A58}" dt="2024-11-19T18:13:20.576" v="90" actId="20577"/>
        <pc:sldMkLst>
          <pc:docMk/>
          <pc:sldMk cId="1983493573" sldId="10442"/>
        </pc:sldMkLst>
        <pc:spChg chg="mod">
          <ac:chgData name="Mercades White" userId="S::mercades.white@njeda.com::137165ca-eb07-4c6a-9b46-6d9cd54dc049" providerId="AD" clId="Web-{E58B1A14-5CC5-2ADF-774C-DC79B9697A58}" dt="2024-11-19T18:13:20.576" v="90" actId="20577"/>
          <ac:spMkLst>
            <pc:docMk/>
            <pc:sldMk cId="1983493573" sldId="10442"/>
            <ac:spMk id="4" creationId="{B82429DC-FF99-42EE-AA16-70B0B9ECBFBF}"/>
          </ac:spMkLst>
        </pc:spChg>
      </pc:sldChg>
      <pc:sldChg chg="addSp modSp">
        <pc:chgData name="Mercades White" userId="S::mercades.white@njeda.com::137165ca-eb07-4c6a-9b46-6d9cd54dc049" providerId="AD" clId="Web-{E58B1A14-5CC5-2ADF-774C-DC79B9697A58}" dt="2024-11-19T18:26:52.569" v="163" actId="14100"/>
        <pc:sldMkLst>
          <pc:docMk/>
          <pc:sldMk cId="2763333697" sldId="10448"/>
        </pc:sldMkLst>
        <pc:spChg chg="add mod">
          <ac:chgData name="Mercades White" userId="S::mercades.white@njeda.com::137165ca-eb07-4c6a-9b46-6d9cd54dc049" providerId="AD" clId="Web-{E58B1A14-5CC5-2ADF-774C-DC79B9697A58}" dt="2024-11-19T18:26:52.569" v="163" actId="14100"/>
          <ac:spMkLst>
            <pc:docMk/>
            <pc:sldMk cId="2763333697" sldId="10448"/>
            <ac:spMk id="8" creationId="{6566E862-B69A-7E58-45F2-F19BB74C2EF4}"/>
          </ac:spMkLst>
        </pc:spChg>
      </pc:sldChg>
      <pc:sldChg chg="modSp">
        <pc:chgData name="Mercades White" userId="S::mercades.white@njeda.com::137165ca-eb07-4c6a-9b46-6d9cd54dc049" providerId="AD" clId="Web-{E58B1A14-5CC5-2ADF-774C-DC79B9697A58}" dt="2024-11-19T16:53:21.639" v="4" actId="14100"/>
        <pc:sldMkLst>
          <pc:docMk/>
          <pc:sldMk cId="3345767715" sldId="10468"/>
        </pc:sldMkLst>
        <pc:spChg chg="mod">
          <ac:chgData name="Mercades White" userId="S::mercades.white@njeda.com::137165ca-eb07-4c6a-9b46-6d9cd54dc049" providerId="AD" clId="Web-{E58B1A14-5CC5-2ADF-774C-DC79B9697A58}" dt="2024-11-19T16:52:55.765" v="3" actId="14100"/>
          <ac:spMkLst>
            <pc:docMk/>
            <pc:sldMk cId="3345767715" sldId="10468"/>
            <ac:spMk id="4" creationId="{28846917-2447-1EE3-2F52-F7806E3D3DD9}"/>
          </ac:spMkLst>
        </pc:spChg>
        <pc:picChg chg="mod">
          <ac:chgData name="Mercades White" userId="S::mercades.white@njeda.com::137165ca-eb07-4c6a-9b46-6d9cd54dc049" providerId="AD" clId="Web-{E58B1A14-5CC5-2ADF-774C-DC79B9697A58}" dt="2024-11-19T16:53:21.639" v="4" actId="14100"/>
          <ac:picMkLst>
            <pc:docMk/>
            <pc:sldMk cId="3345767715" sldId="10468"/>
            <ac:picMk id="14986" creationId="{45D5C1F9-6456-8124-A0B1-78C9EC4F9329}"/>
          </ac:picMkLst>
        </pc:pic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C7836C-3F09-4DBA-9FFF-0102FE150D62}"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9E42B79-763B-4F18-BF19-8CD6D97A4D16}">
      <dgm:prSet phldrT="[Text]" custT="1"/>
      <dgm:spPr/>
      <dgm:t>
        <a:bodyPr/>
        <a:lstStyle/>
        <a:p>
          <a:pPr>
            <a:lnSpc>
              <a:spcPct val="100000"/>
            </a:lnSpc>
          </a:pPr>
          <a:r>
            <a:rPr lang="en-US" sz="2000" b="1" u="none">
              <a:solidFill>
                <a:schemeClr val="accent4"/>
              </a:solidFill>
              <a:effectLst/>
              <a:latin typeface="Calibri"/>
              <a:ea typeface="Times New Roman" panose="02020603050405020304" pitchFamily="18" charset="0"/>
              <a:cs typeface="Calibri"/>
            </a:rPr>
            <a:t>Long-Term Commitment: Awarded tax credits will be issued over a five-year period, providing ongoing benefits for both businesses and the state.</a:t>
          </a:r>
          <a:endParaRPr lang="en-US" sz="2000" b="1" u="none">
            <a:ln>
              <a:noFill/>
            </a:ln>
            <a:solidFill>
              <a:schemeClr val="accent4"/>
            </a:solidFill>
            <a:latin typeface="Calibri"/>
            <a:cs typeface="Calibri"/>
          </a:endParaRPr>
        </a:p>
      </dgm:t>
    </dgm:pt>
    <dgm:pt modelId="{A6B26F54-B62B-489D-9F1E-A9D3ACC06DAF}" type="parTrans" cxnId="{258858B0-2C21-4877-A039-9AA541CB4347}">
      <dgm:prSet/>
      <dgm:spPr/>
      <dgm:t>
        <a:bodyPr/>
        <a:lstStyle/>
        <a:p>
          <a:endParaRPr lang="en-US">
            <a:ln>
              <a:noFill/>
            </a:ln>
          </a:endParaRPr>
        </a:p>
      </dgm:t>
    </dgm:pt>
    <dgm:pt modelId="{ABE45F4B-FED4-4533-BCFB-443C8DF1F6E1}" type="sibTrans" cxnId="{258858B0-2C21-4877-A039-9AA541CB4347}">
      <dgm:prSet/>
      <dgm:spPr/>
      <dgm:t>
        <a:bodyPr/>
        <a:lstStyle/>
        <a:p>
          <a:endParaRPr lang="en-US">
            <a:ln>
              <a:noFill/>
            </a:ln>
          </a:endParaRPr>
        </a:p>
      </dgm:t>
    </dgm:pt>
    <dgm:pt modelId="{80EFEB54-325F-4579-ACB3-FE441D117DBB}">
      <dgm:prSet phldrT="[Text]" custT="1"/>
      <dgm:spPr/>
      <dgm:t>
        <a:bodyPr/>
        <a:lstStyle/>
        <a:p>
          <a:pPr>
            <a:lnSpc>
              <a:spcPct val="100000"/>
            </a:lnSpc>
          </a:pPr>
          <a:r>
            <a:rPr lang="en-US" sz="2000" b="1">
              <a:ln>
                <a:noFill/>
              </a:ln>
              <a:latin typeface="Calibri"/>
              <a:cs typeface="Calibri"/>
            </a:rPr>
            <a:t>Collaboration: This initiative aims to support New Jersey research universities and technology start-ups to foster growth and promote the New Jersey AI ecosystem</a:t>
          </a:r>
        </a:p>
      </dgm:t>
    </dgm:pt>
    <dgm:pt modelId="{CA9EA7DC-AF0D-46A9-9510-205837104F0E}" type="parTrans" cxnId="{6FC2EB08-D21F-466F-A527-962277ADB947}">
      <dgm:prSet/>
      <dgm:spPr/>
      <dgm:t>
        <a:bodyPr/>
        <a:lstStyle/>
        <a:p>
          <a:endParaRPr lang="en-US">
            <a:ln>
              <a:noFill/>
            </a:ln>
          </a:endParaRPr>
        </a:p>
      </dgm:t>
    </dgm:pt>
    <dgm:pt modelId="{E1F59D4F-FB63-448D-B9E0-0EDF97BC0085}" type="sibTrans" cxnId="{6FC2EB08-D21F-466F-A527-962277ADB947}">
      <dgm:prSet/>
      <dgm:spPr/>
      <dgm:t>
        <a:bodyPr/>
        <a:lstStyle/>
        <a:p>
          <a:endParaRPr lang="en-US">
            <a:ln>
              <a:noFill/>
            </a:ln>
          </a:endParaRPr>
        </a:p>
      </dgm:t>
    </dgm:pt>
    <dgm:pt modelId="{1CD27D21-4579-4A25-8C55-4E1E5CC80644}">
      <dgm:prSet phldrT="[Text]" custT="1"/>
      <dgm:spPr/>
      <dgm:t>
        <a:bodyPr/>
        <a:lstStyle/>
        <a:p>
          <a:pPr>
            <a:lnSpc>
              <a:spcPct val="100000"/>
            </a:lnSpc>
          </a:pPr>
          <a:r>
            <a:rPr lang="en-US" sz="2000" b="1" u="none" baseline="0">
              <a:solidFill>
                <a:schemeClr val="accent4"/>
              </a:solidFill>
              <a:effectLst/>
              <a:latin typeface="Calibri"/>
              <a:ea typeface="Times New Roman" panose="02020603050405020304" pitchFamily="18" charset="0"/>
              <a:cs typeface="Calibri"/>
            </a:rPr>
            <a:t>Awardees must create and maintain jobs in New Jersey for 10 years. The credits are transferable and include a 10-year carryforward option.</a:t>
          </a:r>
          <a:endParaRPr lang="en-US" sz="2000" b="1" u="none" baseline="0">
            <a:ln>
              <a:noFill/>
            </a:ln>
            <a:solidFill>
              <a:schemeClr val="accent4"/>
            </a:solidFill>
            <a:latin typeface="Calibri"/>
            <a:cs typeface="Calibri"/>
          </a:endParaRPr>
        </a:p>
      </dgm:t>
    </dgm:pt>
    <dgm:pt modelId="{265332AD-63B7-4782-88B0-4F97E7260577}" type="parTrans" cxnId="{DCFD3CC0-4E11-47D0-9ADD-49746DE6F949}">
      <dgm:prSet/>
      <dgm:spPr/>
      <dgm:t>
        <a:bodyPr/>
        <a:lstStyle/>
        <a:p>
          <a:endParaRPr lang="en-US"/>
        </a:p>
      </dgm:t>
    </dgm:pt>
    <dgm:pt modelId="{DC935861-8251-481B-B909-2D8CDC7867EE}" type="sibTrans" cxnId="{DCFD3CC0-4E11-47D0-9ADD-49746DE6F949}">
      <dgm:prSet/>
      <dgm:spPr/>
      <dgm:t>
        <a:bodyPr/>
        <a:lstStyle/>
        <a:p>
          <a:endParaRPr lang="en-US"/>
        </a:p>
      </dgm:t>
    </dgm:pt>
    <dgm:pt modelId="{A3CEDDC8-B8D4-4728-99DD-F64DB09DED20}" type="pres">
      <dgm:prSet presAssocID="{65C7836C-3F09-4DBA-9FFF-0102FE150D62}" presName="root" presStyleCnt="0">
        <dgm:presLayoutVars>
          <dgm:dir/>
          <dgm:resizeHandles val="exact"/>
        </dgm:presLayoutVars>
      </dgm:prSet>
      <dgm:spPr/>
    </dgm:pt>
    <dgm:pt modelId="{7878D4B6-36F2-406A-BE5B-CD04CA680DFC}" type="pres">
      <dgm:prSet presAssocID="{89E42B79-763B-4F18-BF19-8CD6D97A4D16}" presName="compNode" presStyleCnt="0"/>
      <dgm:spPr/>
    </dgm:pt>
    <dgm:pt modelId="{FBD8FBD4-F07A-48B9-8364-35EAD5634CAB}" type="pres">
      <dgm:prSet presAssocID="{89E42B79-763B-4F18-BF19-8CD6D97A4D16}" presName="bgRect" presStyleLbl="bgShp" presStyleIdx="0" presStyleCnt="3"/>
      <dgm:spPr/>
    </dgm:pt>
    <dgm:pt modelId="{FA4EB9F8-8078-4DFF-BE98-6360A7A5660C}" type="pres">
      <dgm:prSet presAssocID="{89E42B79-763B-4F18-BF19-8CD6D97A4D1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ollar"/>
        </a:ext>
      </dgm:extLst>
    </dgm:pt>
    <dgm:pt modelId="{F9D15F55-A3E2-4596-91A3-1E912F1BA652}" type="pres">
      <dgm:prSet presAssocID="{89E42B79-763B-4F18-BF19-8CD6D97A4D16}" presName="spaceRect" presStyleCnt="0"/>
      <dgm:spPr/>
    </dgm:pt>
    <dgm:pt modelId="{7E4A303E-900F-48CD-91D9-7BB4AA7852E0}" type="pres">
      <dgm:prSet presAssocID="{89E42B79-763B-4F18-BF19-8CD6D97A4D16}" presName="parTx" presStyleLbl="revTx" presStyleIdx="0" presStyleCnt="3">
        <dgm:presLayoutVars>
          <dgm:chMax val="0"/>
          <dgm:chPref val="0"/>
        </dgm:presLayoutVars>
      </dgm:prSet>
      <dgm:spPr/>
    </dgm:pt>
    <dgm:pt modelId="{0D107188-F0E7-4620-9E1B-BDDA7069A495}" type="pres">
      <dgm:prSet presAssocID="{ABE45F4B-FED4-4533-BCFB-443C8DF1F6E1}" presName="sibTrans" presStyleCnt="0"/>
      <dgm:spPr/>
    </dgm:pt>
    <dgm:pt modelId="{BB1BFC96-C687-4388-A5D6-B5960247658F}" type="pres">
      <dgm:prSet presAssocID="{1CD27D21-4579-4A25-8C55-4E1E5CC80644}" presName="compNode" presStyleCnt="0"/>
      <dgm:spPr/>
    </dgm:pt>
    <dgm:pt modelId="{5F5DA034-7CF0-42EC-BD74-1A2E63F66349}" type="pres">
      <dgm:prSet presAssocID="{1CD27D21-4579-4A25-8C55-4E1E5CC80644}" presName="bgRect" presStyleLbl="bgShp" presStyleIdx="1" presStyleCnt="3"/>
      <dgm:spPr/>
    </dgm:pt>
    <dgm:pt modelId="{CE5E6B25-EBAD-4348-BC96-53E9DFCB3308}" type="pres">
      <dgm:prSet presAssocID="{1CD27D21-4579-4A25-8C55-4E1E5CC8064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Handshake"/>
        </a:ext>
      </dgm:extLst>
    </dgm:pt>
    <dgm:pt modelId="{FAE3ACE3-FF60-4860-82A9-6E7A720EF3E2}" type="pres">
      <dgm:prSet presAssocID="{1CD27D21-4579-4A25-8C55-4E1E5CC80644}" presName="spaceRect" presStyleCnt="0"/>
      <dgm:spPr/>
    </dgm:pt>
    <dgm:pt modelId="{CDDC8F7D-006C-4385-AA4D-6CF18A3721C0}" type="pres">
      <dgm:prSet presAssocID="{1CD27D21-4579-4A25-8C55-4E1E5CC80644}" presName="parTx" presStyleLbl="revTx" presStyleIdx="1" presStyleCnt="3">
        <dgm:presLayoutVars>
          <dgm:chMax val="0"/>
          <dgm:chPref val="0"/>
        </dgm:presLayoutVars>
      </dgm:prSet>
      <dgm:spPr/>
    </dgm:pt>
    <dgm:pt modelId="{6CA65D80-DB0C-4B14-9F4D-4BA1D59EDA2A}" type="pres">
      <dgm:prSet presAssocID="{DC935861-8251-481B-B909-2D8CDC7867EE}" presName="sibTrans" presStyleCnt="0"/>
      <dgm:spPr/>
    </dgm:pt>
    <dgm:pt modelId="{A1EF151F-20F7-4A7D-AC57-AC767FA5482B}" type="pres">
      <dgm:prSet presAssocID="{80EFEB54-325F-4579-ACB3-FE441D117DBB}" presName="compNode" presStyleCnt="0"/>
      <dgm:spPr/>
    </dgm:pt>
    <dgm:pt modelId="{872AE899-0E5D-45E4-94B9-3C367A5D853F}" type="pres">
      <dgm:prSet presAssocID="{80EFEB54-325F-4579-ACB3-FE441D117DBB}" presName="bgRect" presStyleLbl="bgShp" presStyleIdx="2" presStyleCnt="3"/>
      <dgm:spPr/>
    </dgm:pt>
    <dgm:pt modelId="{FAA11351-54ED-4220-B326-E891C8366D07}" type="pres">
      <dgm:prSet presAssocID="{80EFEB54-325F-4579-ACB3-FE441D117DB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iploma Roll"/>
        </a:ext>
      </dgm:extLst>
    </dgm:pt>
    <dgm:pt modelId="{04A696A5-ABC1-4E95-9DA4-340B2BD69840}" type="pres">
      <dgm:prSet presAssocID="{80EFEB54-325F-4579-ACB3-FE441D117DBB}" presName="spaceRect" presStyleCnt="0"/>
      <dgm:spPr/>
    </dgm:pt>
    <dgm:pt modelId="{62F8F829-6C62-4E51-BDCD-4F652D1F1A3F}" type="pres">
      <dgm:prSet presAssocID="{80EFEB54-325F-4579-ACB3-FE441D117DBB}" presName="parTx" presStyleLbl="revTx" presStyleIdx="2" presStyleCnt="3">
        <dgm:presLayoutVars>
          <dgm:chMax val="0"/>
          <dgm:chPref val="0"/>
        </dgm:presLayoutVars>
      </dgm:prSet>
      <dgm:spPr/>
    </dgm:pt>
  </dgm:ptLst>
  <dgm:cxnLst>
    <dgm:cxn modelId="{6FC2EB08-D21F-466F-A527-962277ADB947}" srcId="{65C7836C-3F09-4DBA-9FFF-0102FE150D62}" destId="{80EFEB54-325F-4579-ACB3-FE441D117DBB}" srcOrd="2" destOrd="0" parTransId="{CA9EA7DC-AF0D-46A9-9510-205837104F0E}" sibTransId="{E1F59D4F-FB63-448D-B9E0-0EDF97BC0085}"/>
    <dgm:cxn modelId="{E360114F-1DB6-4A82-B0BE-EDE7FB442870}" type="presOf" srcId="{89E42B79-763B-4F18-BF19-8CD6D97A4D16}" destId="{7E4A303E-900F-48CD-91D9-7BB4AA7852E0}" srcOrd="0" destOrd="0" presId="urn:microsoft.com/office/officeart/2018/2/layout/IconVerticalSolidList"/>
    <dgm:cxn modelId="{2E29767B-3435-4498-8125-33758A094CAF}" type="presOf" srcId="{1CD27D21-4579-4A25-8C55-4E1E5CC80644}" destId="{CDDC8F7D-006C-4385-AA4D-6CF18A3721C0}" srcOrd="0" destOrd="0" presId="urn:microsoft.com/office/officeart/2018/2/layout/IconVerticalSolidList"/>
    <dgm:cxn modelId="{E12936A5-78C1-43BD-9A5C-D72444DD7CFD}" type="presOf" srcId="{65C7836C-3F09-4DBA-9FFF-0102FE150D62}" destId="{A3CEDDC8-B8D4-4728-99DD-F64DB09DED20}" srcOrd="0" destOrd="0" presId="urn:microsoft.com/office/officeart/2018/2/layout/IconVerticalSolidList"/>
    <dgm:cxn modelId="{258858B0-2C21-4877-A039-9AA541CB4347}" srcId="{65C7836C-3F09-4DBA-9FFF-0102FE150D62}" destId="{89E42B79-763B-4F18-BF19-8CD6D97A4D16}" srcOrd="0" destOrd="0" parTransId="{A6B26F54-B62B-489D-9F1E-A9D3ACC06DAF}" sibTransId="{ABE45F4B-FED4-4533-BCFB-443C8DF1F6E1}"/>
    <dgm:cxn modelId="{DCFD3CC0-4E11-47D0-9ADD-49746DE6F949}" srcId="{65C7836C-3F09-4DBA-9FFF-0102FE150D62}" destId="{1CD27D21-4579-4A25-8C55-4E1E5CC80644}" srcOrd="1" destOrd="0" parTransId="{265332AD-63B7-4782-88B0-4F97E7260577}" sibTransId="{DC935861-8251-481B-B909-2D8CDC7867EE}"/>
    <dgm:cxn modelId="{D6A49FC6-87A3-4520-8F6D-B8144A8DD758}" type="presOf" srcId="{80EFEB54-325F-4579-ACB3-FE441D117DBB}" destId="{62F8F829-6C62-4E51-BDCD-4F652D1F1A3F}" srcOrd="0" destOrd="0" presId="urn:microsoft.com/office/officeart/2018/2/layout/IconVerticalSolidList"/>
    <dgm:cxn modelId="{88496259-32A3-48D1-A242-96CEBFACAC94}" type="presParOf" srcId="{A3CEDDC8-B8D4-4728-99DD-F64DB09DED20}" destId="{7878D4B6-36F2-406A-BE5B-CD04CA680DFC}" srcOrd="0" destOrd="0" presId="urn:microsoft.com/office/officeart/2018/2/layout/IconVerticalSolidList"/>
    <dgm:cxn modelId="{5577D01E-0CDB-4A1D-8112-EACBD5D83E5D}" type="presParOf" srcId="{7878D4B6-36F2-406A-BE5B-CD04CA680DFC}" destId="{FBD8FBD4-F07A-48B9-8364-35EAD5634CAB}" srcOrd="0" destOrd="0" presId="urn:microsoft.com/office/officeart/2018/2/layout/IconVerticalSolidList"/>
    <dgm:cxn modelId="{1E760D94-F2F1-43C9-BED3-40F7EB4474E4}" type="presParOf" srcId="{7878D4B6-36F2-406A-BE5B-CD04CA680DFC}" destId="{FA4EB9F8-8078-4DFF-BE98-6360A7A5660C}" srcOrd="1" destOrd="0" presId="urn:microsoft.com/office/officeart/2018/2/layout/IconVerticalSolidList"/>
    <dgm:cxn modelId="{F2781B37-EAC8-4D28-9299-358B2D8030D7}" type="presParOf" srcId="{7878D4B6-36F2-406A-BE5B-CD04CA680DFC}" destId="{F9D15F55-A3E2-4596-91A3-1E912F1BA652}" srcOrd="2" destOrd="0" presId="urn:microsoft.com/office/officeart/2018/2/layout/IconVerticalSolidList"/>
    <dgm:cxn modelId="{ACFAF381-4322-4BFB-B9DB-18CF4B2B7674}" type="presParOf" srcId="{7878D4B6-36F2-406A-BE5B-CD04CA680DFC}" destId="{7E4A303E-900F-48CD-91D9-7BB4AA7852E0}" srcOrd="3" destOrd="0" presId="urn:microsoft.com/office/officeart/2018/2/layout/IconVerticalSolidList"/>
    <dgm:cxn modelId="{72332788-DF84-442D-B6E8-05C9F682A463}" type="presParOf" srcId="{A3CEDDC8-B8D4-4728-99DD-F64DB09DED20}" destId="{0D107188-F0E7-4620-9E1B-BDDA7069A495}" srcOrd="1" destOrd="0" presId="urn:microsoft.com/office/officeart/2018/2/layout/IconVerticalSolidList"/>
    <dgm:cxn modelId="{2C264071-CB5D-4E30-90B1-E0556E07DA5E}" type="presParOf" srcId="{A3CEDDC8-B8D4-4728-99DD-F64DB09DED20}" destId="{BB1BFC96-C687-4388-A5D6-B5960247658F}" srcOrd="2" destOrd="0" presId="urn:microsoft.com/office/officeart/2018/2/layout/IconVerticalSolidList"/>
    <dgm:cxn modelId="{7098F4AD-1789-433B-9D58-1F2BB89666A8}" type="presParOf" srcId="{BB1BFC96-C687-4388-A5D6-B5960247658F}" destId="{5F5DA034-7CF0-42EC-BD74-1A2E63F66349}" srcOrd="0" destOrd="0" presId="urn:microsoft.com/office/officeart/2018/2/layout/IconVerticalSolidList"/>
    <dgm:cxn modelId="{17CC69F7-2636-4347-A6D3-8C1C86E594B7}" type="presParOf" srcId="{BB1BFC96-C687-4388-A5D6-B5960247658F}" destId="{CE5E6B25-EBAD-4348-BC96-53E9DFCB3308}" srcOrd="1" destOrd="0" presId="urn:microsoft.com/office/officeart/2018/2/layout/IconVerticalSolidList"/>
    <dgm:cxn modelId="{D5798115-409C-4286-B379-D771DC898934}" type="presParOf" srcId="{BB1BFC96-C687-4388-A5D6-B5960247658F}" destId="{FAE3ACE3-FF60-4860-82A9-6E7A720EF3E2}" srcOrd="2" destOrd="0" presId="urn:microsoft.com/office/officeart/2018/2/layout/IconVerticalSolidList"/>
    <dgm:cxn modelId="{31D0BD67-E47B-4DA4-B98C-B38FEDA99F18}" type="presParOf" srcId="{BB1BFC96-C687-4388-A5D6-B5960247658F}" destId="{CDDC8F7D-006C-4385-AA4D-6CF18A3721C0}" srcOrd="3" destOrd="0" presId="urn:microsoft.com/office/officeart/2018/2/layout/IconVerticalSolidList"/>
    <dgm:cxn modelId="{DD48DF92-6A65-4B15-9AAD-13413073EE0D}" type="presParOf" srcId="{A3CEDDC8-B8D4-4728-99DD-F64DB09DED20}" destId="{6CA65D80-DB0C-4B14-9F4D-4BA1D59EDA2A}" srcOrd="3" destOrd="0" presId="urn:microsoft.com/office/officeart/2018/2/layout/IconVerticalSolidList"/>
    <dgm:cxn modelId="{49AEDCD6-83B4-4BCE-840C-992CDDDE5E23}" type="presParOf" srcId="{A3CEDDC8-B8D4-4728-99DD-F64DB09DED20}" destId="{A1EF151F-20F7-4A7D-AC57-AC767FA5482B}" srcOrd="4" destOrd="0" presId="urn:microsoft.com/office/officeart/2018/2/layout/IconVerticalSolidList"/>
    <dgm:cxn modelId="{E676AE5C-AB34-4E1A-96B6-05ECE50B83C0}" type="presParOf" srcId="{A1EF151F-20F7-4A7D-AC57-AC767FA5482B}" destId="{872AE899-0E5D-45E4-94B9-3C367A5D853F}" srcOrd="0" destOrd="0" presId="urn:microsoft.com/office/officeart/2018/2/layout/IconVerticalSolidList"/>
    <dgm:cxn modelId="{7552272B-0343-4294-9188-3AC7DF792FEE}" type="presParOf" srcId="{A1EF151F-20F7-4A7D-AC57-AC767FA5482B}" destId="{FAA11351-54ED-4220-B326-E891C8366D07}" srcOrd="1" destOrd="0" presId="urn:microsoft.com/office/officeart/2018/2/layout/IconVerticalSolidList"/>
    <dgm:cxn modelId="{2A927EE3-F33F-4768-91BC-225AC6640D91}" type="presParOf" srcId="{A1EF151F-20F7-4A7D-AC57-AC767FA5482B}" destId="{04A696A5-ABC1-4E95-9DA4-340B2BD69840}" srcOrd="2" destOrd="0" presId="urn:microsoft.com/office/officeart/2018/2/layout/IconVerticalSolidList"/>
    <dgm:cxn modelId="{040E7CC3-EC12-4616-AB07-81D8CADA1CE6}" type="presParOf" srcId="{A1EF151F-20F7-4A7D-AC57-AC767FA5482B}" destId="{62F8F829-6C62-4E51-BDCD-4F652D1F1A3F}"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9811E9-2A0F-404C-92BE-ED87A74BDA0E}" type="doc">
      <dgm:prSet loTypeId="urn:microsoft.com/office/officeart/2017/3/layout/DropPinTimeline" loCatId="timeline" qsTypeId="urn:microsoft.com/office/officeart/2005/8/quickstyle/simple1" qsCatId="simple" csTypeId="urn:microsoft.com/office/officeart/2005/8/colors/accent2_2" csCatId="accent2" phldr="1"/>
      <dgm:spPr/>
      <dgm:t>
        <a:bodyPr/>
        <a:lstStyle/>
        <a:p>
          <a:endParaRPr lang="en-US"/>
        </a:p>
      </dgm:t>
    </dgm:pt>
    <dgm:pt modelId="{6066EB94-7EFC-4DC2-ACD0-4D950F79587C}">
      <dgm:prSet phldr="0"/>
      <dgm:spPr/>
      <dgm:t>
        <a:bodyPr/>
        <a:lstStyle/>
        <a:p>
          <a:pPr rtl="0">
            <a:defRPr b="1"/>
          </a:pPr>
          <a:r>
            <a:rPr lang="en-US" b="1">
              <a:latin typeface="Calibri"/>
              <a:cs typeface="Calibri"/>
            </a:rPr>
            <a:t>Year 10</a:t>
          </a:r>
          <a:endParaRPr lang="en-US"/>
        </a:p>
      </dgm:t>
    </dgm:pt>
    <dgm:pt modelId="{9629DD9F-55DF-4287-B8F5-102434DE2071}" type="parTrans" cxnId="{983679F2-07E8-4E14-93BC-D0C68A349D46}">
      <dgm:prSet/>
      <dgm:spPr/>
    </dgm:pt>
    <dgm:pt modelId="{B287DAEB-46FF-4DA5-87D5-80E3F772066B}" type="sibTrans" cxnId="{983679F2-07E8-4E14-93BC-D0C68A349D46}">
      <dgm:prSet/>
      <dgm:spPr/>
    </dgm:pt>
    <dgm:pt modelId="{60A886E8-FE4A-40B3-B753-3E154F33A3DF}">
      <dgm:prSet phldr="0"/>
      <dgm:spPr/>
      <dgm:t>
        <a:bodyPr/>
        <a:lstStyle/>
        <a:p>
          <a:endParaRPr lang="en-US" b="0">
            <a:latin typeface="Calibri"/>
            <a:ea typeface="Calibri"/>
            <a:cs typeface="Calibri"/>
          </a:endParaRPr>
        </a:p>
      </dgm:t>
    </dgm:pt>
    <dgm:pt modelId="{7B306988-8A87-4955-A9C2-01FE8E46B7D3}" type="parTrans" cxnId="{D49E9CE2-AB83-49B4-8361-78991F4DEB08}">
      <dgm:prSet/>
      <dgm:spPr/>
    </dgm:pt>
    <dgm:pt modelId="{3103E47A-99DE-4EA8-AB1B-6053C43184B7}" type="sibTrans" cxnId="{D49E9CE2-AB83-49B4-8361-78991F4DEB08}">
      <dgm:prSet/>
      <dgm:spPr/>
    </dgm:pt>
    <dgm:pt modelId="{6127D27E-DFEF-4418-BB27-CF35E93D5434}">
      <dgm:prSet phldr="0"/>
      <dgm:spPr/>
      <dgm:t>
        <a:bodyPr/>
        <a:lstStyle/>
        <a:p>
          <a:r>
            <a:rPr lang="en-US" b="0">
              <a:solidFill>
                <a:srgbClr val="000000"/>
              </a:solidFill>
              <a:latin typeface="Calibri"/>
              <a:ea typeface="Calibri"/>
              <a:cs typeface="Calibri"/>
            </a:rPr>
            <a:t>($1M)</a:t>
          </a:r>
          <a:endParaRPr lang="en-US"/>
        </a:p>
      </dgm:t>
    </dgm:pt>
    <dgm:pt modelId="{A9B0CE6E-B28E-4DF2-ADEA-5DB6603ED2FA}" type="parTrans" cxnId="{97044584-F1E3-428D-A3F8-C6ABC4148D52}">
      <dgm:prSet/>
      <dgm:spPr/>
    </dgm:pt>
    <dgm:pt modelId="{726B46ED-BAA1-40EB-88A1-D73EB48A1CCD}" type="sibTrans" cxnId="{97044584-F1E3-428D-A3F8-C6ABC4148D52}">
      <dgm:prSet/>
      <dgm:spPr/>
    </dgm:pt>
    <dgm:pt modelId="{E435B4CB-00B9-4445-8233-C16193AEAEA6}">
      <dgm:prSet phldr="0"/>
      <dgm:spPr/>
      <dgm:t>
        <a:bodyPr/>
        <a:lstStyle/>
        <a:p>
          <a:endParaRPr lang="en-US">
            <a:latin typeface="Arial"/>
          </a:endParaRPr>
        </a:p>
      </dgm:t>
    </dgm:pt>
    <dgm:pt modelId="{A578B5F1-FF31-414E-A37F-970EB2CBEE58}" type="parTrans" cxnId="{14243C17-90F4-4CDE-90FE-AF64B8BBCADF}">
      <dgm:prSet/>
      <dgm:spPr/>
    </dgm:pt>
    <dgm:pt modelId="{22036A6D-48FB-435C-97B5-1D411F88B359}" type="sibTrans" cxnId="{14243C17-90F4-4CDE-90FE-AF64B8BBCADF}">
      <dgm:prSet/>
      <dgm:spPr/>
    </dgm:pt>
    <dgm:pt modelId="{CD52DF8A-7A2A-4F55-B90E-183499B2BA65}">
      <dgm:prSet phldr="0"/>
      <dgm:spPr/>
      <dgm:t>
        <a:bodyPr/>
        <a:lstStyle/>
        <a:p>
          <a:pPr rtl="0">
            <a:defRPr b="1"/>
          </a:pPr>
          <a:r>
            <a:rPr lang="en-US" b="1">
              <a:latin typeface="Calibri"/>
              <a:cs typeface="Calibri"/>
            </a:rPr>
            <a:t>Year 1</a:t>
          </a:r>
        </a:p>
      </dgm:t>
    </dgm:pt>
    <dgm:pt modelId="{A2067B49-AD36-41BC-906E-E8706541AB1D}" type="parTrans" cxnId="{E937C62F-2F08-435D-B163-F8923DD522F2}">
      <dgm:prSet/>
      <dgm:spPr/>
    </dgm:pt>
    <dgm:pt modelId="{75B06636-2013-4012-BF41-937C8ACAF1CE}" type="sibTrans" cxnId="{E937C62F-2F08-435D-B163-F8923DD522F2}">
      <dgm:prSet/>
      <dgm:spPr/>
    </dgm:pt>
    <dgm:pt modelId="{CFE0F40C-9846-434D-B880-BF1B9E33551D}">
      <dgm:prSet phldr="0"/>
      <dgm:spPr/>
      <dgm:t>
        <a:bodyPr/>
        <a:lstStyle/>
        <a:p>
          <a:pPr rtl="0">
            <a:defRPr b="1"/>
          </a:pPr>
          <a:r>
            <a:rPr lang="en-US" b="0">
              <a:latin typeface="Calibri"/>
              <a:cs typeface="Calibri"/>
            </a:rPr>
            <a:t>($1M)</a:t>
          </a:r>
          <a:endParaRPr lang="en-US"/>
        </a:p>
      </dgm:t>
    </dgm:pt>
    <dgm:pt modelId="{251AC4CA-8972-4AE1-9E5D-15C1BD7946F7}" type="parTrans" cxnId="{1CB2F1D5-60F4-462B-965D-CB74300393B6}">
      <dgm:prSet/>
      <dgm:spPr/>
    </dgm:pt>
    <dgm:pt modelId="{8478BF93-0EAA-4AA3-8544-A38C9CF315BA}" type="sibTrans" cxnId="{1CB2F1D5-60F4-462B-965D-CB74300393B6}">
      <dgm:prSet/>
      <dgm:spPr/>
    </dgm:pt>
    <dgm:pt modelId="{000E9CF7-09EE-4631-B38C-B52529CD93A9}">
      <dgm:prSet phldr="0"/>
      <dgm:spPr/>
      <dgm:t>
        <a:bodyPr/>
        <a:lstStyle/>
        <a:p>
          <a:pPr rtl="0">
            <a:defRPr b="1"/>
          </a:pPr>
          <a:r>
            <a:rPr lang="en-US" b="1">
              <a:latin typeface="Calibri"/>
              <a:cs typeface="Calibri"/>
            </a:rPr>
            <a:t>Year 2 </a:t>
          </a:r>
          <a:endParaRPr lang="en-US"/>
        </a:p>
      </dgm:t>
    </dgm:pt>
    <dgm:pt modelId="{07ABF0E9-EABC-45F8-8809-BA5CE42FEB14}" type="parTrans" cxnId="{DD455132-97FA-4750-8E2C-117C3CDE5172}">
      <dgm:prSet/>
      <dgm:spPr/>
    </dgm:pt>
    <dgm:pt modelId="{E88F72AF-A7B1-41A7-96B4-6F21478B9F43}" type="sibTrans" cxnId="{DD455132-97FA-4750-8E2C-117C3CDE5172}">
      <dgm:prSet/>
      <dgm:spPr/>
    </dgm:pt>
    <dgm:pt modelId="{24360B65-98E3-4F1E-8C81-B1FDD1C7563E}">
      <dgm:prSet phldr="0"/>
      <dgm:spPr/>
      <dgm:t>
        <a:bodyPr/>
        <a:lstStyle/>
        <a:p>
          <a:pPr rtl="0">
            <a:defRPr b="1"/>
          </a:pPr>
          <a:endParaRPr lang="en-US" b="1">
            <a:latin typeface="Calibri"/>
            <a:cs typeface="Calibri"/>
          </a:endParaRPr>
        </a:p>
      </dgm:t>
    </dgm:pt>
    <dgm:pt modelId="{46EE4ADD-AAF9-4558-ABFE-FD534D06F7B0}" type="parTrans" cxnId="{5BA6B462-1DC3-467C-9468-D81525C8F256}">
      <dgm:prSet/>
      <dgm:spPr/>
    </dgm:pt>
    <dgm:pt modelId="{8AC4880E-4CB2-416F-B719-AF3D718A3BE9}" type="sibTrans" cxnId="{5BA6B462-1DC3-467C-9468-D81525C8F256}">
      <dgm:prSet/>
      <dgm:spPr/>
    </dgm:pt>
    <dgm:pt modelId="{AE205852-90DA-4810-8051-EB6B45A5CEB5}">
      <dgm:prSet phldr="0"/>
      <dgm:spPr/>
      <dgm:t>
        <a:bodyPr/>
        <a:lstStyle/>
        <a:p>
          <a:pPr rtl="0">
            <a:defRPr b="1"/>
          </a:pPr>
          <a:r>
            <a:rPr lang="en-US" b="1">
              <a:latin typeface="Calibri"/>
              <a:cs typeface="Calibri"/>
            </a:rPr>
            <a:t>Year 3</a:t>
          </a:r>
          <a:endParaRPr lang="en-US"/>
        </a:p>
      </dgm:t>
    </dgm:pt>
    <dgm:pt modelId="{741830BF-4B83-489E-ADFC-6E457908F202}" type="parTrans" cxnId="{9E6DB877-AA3C-4341-9B80-4AF87BAA24E2}">
      <dgm:prSet/>
      <dgm:spPr/>
    </dgm:pt>
    <dgm:pt modelId="{3550CAD8-8579-4975-A13E-27D0217EF542}" type="sibTrans" cxnId="{9E6DB877-AA3C-4341-9B80-4AF87BAA24E2}">
      <dgm:prSet/>
      <dgm:spPr/>
    </dgm:pt>
    <dgm:pt modelId="{C5F15018-26DE-4CA1-ACEE-189B7FB4EA9A}">
      <dgm:prSet phldr="0"/>
      <dgm:spPr/>
      <dgm:t>
        <a:bodyPr/>
        <a:lstStyle/>
        <a:p>
          <a:pPr rtl="0">
            <a:defRPr b="1"/>
          </a:pPr>
          <a:r>
            <a:rPr lang="en-US" b="0">
              <a:latin typeface="Calibri"/>
              <a:cs typeface="Calibri"/>
            </a:rPr>
            <a:t>($1M)</a:t>
          </a:r>
          <a:endParaRPr lang="en-US"/>
        </a:p>
      </dgm:t>
    </dgm:pt>
    <dgm:pt modelId="{A0E91908-369B-4BA5-9377-1ED39DB41FF9}" type="parTrans" cxnId="{787E0CB7-1C75-4F6A-967B-A09FB4821B90}">
      <dgm:prSet/>
      <dgm:spPr/>
    </dgm:pt>
    <dgm:pt modelId="{CCF001FE-649A-4B91-BEFB-4AD2EF7E4DB2}" type="sibTrans" cxnId="{787E0CB7-1C75-4F6A-967B-A09FB4821B90}">
      <dgm:prSet/>
      <dgm:spPr/>
    </dgm:pt>
    <dgm:pt modelId="{803043DE-C1C3-4038-BB9C-68CA5CF15C08}">
      <dgm:prSet phldr="0"/>
      <dgm:spPr/>
      <dgm:t>
        <a:bodyPr/>
        <a:lstStyle/>
        <a:p>
          <a:pPr rtl="0">
            <a:defRPr b="1"/>
          </a:pPr>
          <a:r>
            <a:rPr lang="en-US" b="1">
              <a:latin typeface="Calibri"/>
              <a:cs typeface="Calibri"/>
            </a:rPr>
            <a:t>Year 4</a:t>
          </a:r>
          <a:endParaRPr lang="en-US"/>
        </a:p>
      </dgm:t>
    </dgm:pt>
    <dgm:pt modelId="{FFC5A2B2-A1BB-4AA5-BD78-4099ACAAAD0D}" type="parTrans" cxnId="{CF780066-2CD9-46A0-9269-25C9A44310DB}">
      <dgm:prSet/>
      <dgm:spPr/>
    </dgm:pt>
    <dgm:pt modelId="{C65F3DF2-83C9-4FE2-AC1A-EC6016AC2719}" type="sibTrans" cxnId="{CF780066-2CD9-46A0-9269-25C9A44310DB}">
      <dgm:prSet/>
      <dgm:spPr/>
    </dgm:pt>
    <dgm:pt modelId="{CAB08D15-1D96-422A-AAD6-37C89BDBD71E}">
      <dgm:prSet phldr="0"/>
      <dgm:spPr/>
      <dgm:t>
        <a:bodyPr/>
        <a:lstStyle/>
        <a:p>
          <a:pPr rtl="0">
            <a:defRPr b="1"/>
          </a:pPr>
          <a:endParaRPr lang="en-US" b="0">
            <a:latin typeface="Calibri"/>
            <a:cs typeface="Calibri"/>
          </a:endParaRPr>
        </a:p>
      </dgm:t>
    </dgm:pt>
    <dgm:pt modelId="{48BD8494-6F27-4C4D-B492-AA76B40B13E8}" type="parTrans" cxnId="{1874167E-D8C0-4891-978A-E7C024C6E69C}">
      <dgm:prSet/>
      <dgm:spPr/>
    </dgm:pt>
    <dgm:pt modelId="{B38A25B8-F228-4CAC-8F66-5E6291487269}" type="sibTrans" cxnId="{1874167E-D8C0-4891-978A-E7C024C6E69C}">
      <dgm:prSet/>
      <dgm:spPr/>
    </dgm:pt>
    <dgm:pt modelId="{96E84DF9-E3F6-42E4-976D-A24C8B33DEA1}">
      <dgm:prSet phldr="0"/>
      <dgm:spPr/>
      <dgm:t>
        <a:bodyPr/>
        <a:lstStyle/>
        <a:p>
          <a:pPr rtl="0">
            <a:defRPr b="1"/>
          </a:pPr>
          <a:r>
            <a:rPr lang="en-US" b="1">
              <a:latin typeface="Calibri"/>
              <a:cs typeface="Calibri"/>
            </a:rPr>
            <a:t>Year 5</a:t>
          </a:r>
          <a:endParaRPr lang="en-US"/>
        </a:p>
      </dgm:t>
    </dgm:pt>
    <dgm:pt modelId="{9B1CED87-049D-4B79-A826-A6E59C6E43F0}" type="parTrans" cxnId="{5E806FCB-C0B2-454A-968C-B918E872D393}">
      <dgm:prSet/>
      <dgm:spPr/>
    </dgm:pt>
    <dgm:pt modelId="{56EF9B2B-F0E2-4D1D-AD37-3457566DFF3F}" type="sibTrans" cxnId="{5E806FCB-C0B2-454A-968C-B918E872D393}">
      <dgm:prSet/>
      <dgm:spPr/>
    </dgm:pt>
    <dgm:pt modelId="{8E8A4781-F681-4963-9207-7C23A83FD89C}">
      <dgm:prSet phldr="0"/>
      <dgm:spPr/>
      <dgm:t>
        <a:bodyPr/>
        <a:lstStyle/>
        <a:p>
          <a:pPr rtl="0">
            <a:defRPr b="1"/>
          </a:pPr>
          <a:r>
            <a:rPr lang="en-US" b="0">
              <a:latin typeface="Calibri"/>
              <a:cs typeface="Calibri"/>
            </a:rPr>
            <a:t>($1M)</a:t>
          </a:r>
          <a:endParaRPr lang="en-US"/>
        </a:p>
      </dgm:t>
    </dgm:pt>
    <dgm:pt modelId="{2A64E9EF-A221-4855-83C4-2D8CF6973F93}" type="parTrans" cxnId="{DF40F8C7-2ADF-4428-93D9-70B85CB6C3F7}">
      <dgm:prSet/>
      <dgm:spPr/>
    </dgm:pt>
    <dgm:pt modelId="{36A92183-17F3-436F-A92A-7CF097F0BFEA}" type="sibTrans" cxnId="{DF40F8C7-2ADF-4428-93D9-70B85CB6C3F7}">
      <dgm:prSet/>
      <dgm:spPr/>
    </dgm:pt>
    <dgm:pt modelId="{544BB1EF-5414-4858-A01E-1FC6C6D870D0}">
      <dgm:prSet phldr="0"/>
      <dgm:spPr/>
      <dgm:t>
        <a:bodyPr/>
        <a:lstStyle/>
        <a:p>
          <a:pPr rtl="0">
            <a:defRPr b="1"/>
          </a:pPr>
          <a:r>
            <a:rPr lang="en-US" b="1">
              <a:latin typeface="Calibri"/>
              <a:cs typeface="Calibri"/>
            </a:rPr>
            <a:t>Year 6</a:t>
          </a:r>
          <a:endParaRPr lang="en-US"/>
        </a:p>
      </dgm:t>
    </dgm:pt>
    <dgm:pt modelId="{79527B41-300E-4812-BC42-E8A5355E97A2}" type="parTrans" cxnId="{D4BCAA6C-4F18-4670-9FFB-0D67222DD7A0}">
      <dgm:prSet/>
      <dgm:spPr/>
    </dgm:pt>
    <dgm:pt modelId="{3CE2A833-0094-43B2-8B69-25B38E6DCC38}" type="sibTrans" cxnId="{D4BCAA6C-4F18-4670-9FFB-0D67222DD7A0}">
      <dgm:prSet/>
      <dgm:spPr/>
    </dgm:pt>
    <dgm:pt modelId="{31231E8D-1860-47F1-B26C-C4653B3512A6}">
      <dgm:prSet phldr="0"/>
      <dgm:spPr/>
      <dgm:t>
        <a:bodyPr/>
        <a:lstStyle/>
        <a:p>
          <a:pPr rtl="0">
            <a:defRPr b="1"/>
          </a:pPr>
          <a:endParaRPr lang="en-US" b="0">
            <a:latin typeface="Calibri"/>
            <a:cs typeface="Calibri"/>
          </a:endParaRPr>
        </a:p>
      </dgm:t>
    </dgm:pt>
    <dgm:pt modelId="{5786F8B5-A061-425D-B6BF-3E390058B6DE}" type="parTrans" cxnId="{DE45D0F7-02E9-4419-B512-532FAF702407}">
      <dgm:prSet/>
      <dgm:spPr/>
    </dgm:pt>
    <dgm:pt modelId="{491005D2-BF96-47AE-880F-D84F21362B57}" type="sibTrans" cxnId="{DE45D0F7-02E9-4419-B512-532FAF702407}">
      <dgm:prSet/>
      <dgm:spPr/>
    </dgm:pt>
    <dgm:pt modelId="{CB587F8C-F6F1-4B2A-9FF3-FE263D56FE78}">
      <dgm:prSet phldr="0"/>
      <dgm:spPr/>
      <dgm:t>
        <a:bodyPr/>
        <a:lstStyle/>
        <a:p>
          <a:pPr rtl="0">
            <a:defRPr b="1"/>
          </a:pPr>
          <a:r>
            <a:rPr lang="en-US" b="1">
              <a:latin typeface="Calibri"/>
              <a:cs typeface="Calibri"/>
            </a:rPr>
            <a:t>Year 7</a:t>
          </a:r>
          <a:endParaRPr lang="en-US"/>
        </a:p>
      </dgm:t>
    </dgm:pt>
    <dgm:pt modelId="{8A91C454-CB58-40AB-B453-555C52D3DD1B}" type="parTrans" cxnId="{61C3D127-69D4-4A45-87D3-2358900EE8FE}">
      <dgm:prSet/>
      <dgm:spPr/>
    </dgm:pt>
    <dgm:pt modelId="{293182FD-15D5-4C95-807F-9625FAE3CBDB}" type="sibTrans" cxnId="{61C3D127-69D4-4A45-87D3-2358900EE8FE}">
      <dgm:prSet/>
      <dgm:spPr/>
    </dgm:pt>
    <dgm:pt modelId="{6F5B7005-2570-4B8F-B7E3-4B41D7F1D50A}">
      <dgm:prSet phldr="0"/>
      <dgm:spPr/>
      <dgm:t>
        <a:bodyPr/>
        <a:lstStyle/>
        <a:p>
          <a:pPr rtl="0">
            <a:defRPr b="1"/>
          </a:pPr>
          <a:r>
            <a:rPr lang="en-US" b="0">
              <a:latin typeface="Calibri"/>
              <a:cs typeface="Calibri"/>
            </a:rPr>
            <a:t>($1M)</a:t>
          </a:r>
          <a:endParaRPr lang="en-US"/>
        </a:p>
      </dgm:t>
    </dgm:pt>
    <dgm:pt modelId="{2B02CDE8-1149-4525-83DC-BBC71F2766EF}" type="parTrans" cxnId="{6B667AE5-85A4-495B-9936-6558DC839573}">
      <dgm:prSet/>
      <dgm:spPr/>
    </dgm:pt>
    <dgm:pt modelId="{D3348A52-B3CC-4497-888F-79453A2FB9F7}" type="sibTrans" cxnId="{6B667AE5-85A4-495B-9936-6558DC839573}">
      <dgm:prSet/>
      <dgm:spPr/>
    </dgm:pt>
    <dgm:pt modelId="{053E428D-121A-45C8-A152-FFB343E08FDA}">
      <dgm:prSet phldr="0"/>
      <dgm:spPr/>
      <dgm:t>
        <a:bodyPr/>
        <a:lstStyle/>
        <a:p>
          <a:pPr rtl="0">
            <a:defRPr b="1"/>
          </a:pPr>
          <a:r>
            <a:rPr lang="en-US" b="1">
              <a:latin typeface="Calibri"/>
              <a:cs typeface="Calibri"/>
            </a:rPr>
            <a:t>Year 8</a:t>
          </a:r>
          <a:endParaRPr lang="en-US"/>
        </a:p>
      </dgm:t>
    </dgm:pt>
    <dgm:pt modelId="{E8BAB816-0783-43BC-8917-1C8C833A4B90}" type="parTrans" cxnId="{7B1FEDBE-A430-4431-BF46-B7D5AE8502B4}">
      <dgm:prSet/>
      <dgm:spPr/>
    </dgm:pt>
    <dgm:pt modelId="{3D6713E0-65F5-4755-9EBD-76F35190D9C0}" type="sibTrans" cxnId="{7B1FEDBE-A430-4431-BF46-B7D5AE8502B4}">
      <dgm:prSet/>
      <dgm:spPr/>
    </dgm:pt>
    <dgm:pt modelId="{C6221F81-623B-4481-BC21-07C8D2C73772}">
      <dgm:prSet phldr="0"/>
      <dgm:spPr/>
      <dgm:t>
        <a:bodyPr/>
        <a:lstStyle/>
        <a:p>
          <a:pPr rtl="0">
            <a:defRPr b="1"/>
          </a:pPr>
          <a:endParaRPr lang="en-US" b="0">
            <a:latin typeface="Calibri"/>
            <a:cs typeface="Calibri"/>
          </a:endParaRPr>
        </a:p>
      </dgm:t>
    </dgm:pt>
    <dgm:pt modelId="{3BAFC22F-2B80-407B-A2F2-FE5B98DCDEDA}" type="parTrans" cxnId="{E6494191-F995-4BBE-8B55-7F7B69995B53}">
      <dgm:prSet/>
      <dgm:spPr/>
    </dgm:pt>
    <dgm:pt modelId="{90CA20DE-4D42-4686-BFD0-F46D78932792}" type="sibTrans" cxnId="{E6494191-F995-4BBE-8B55-7F7B69995B53}">
      <dgm:prSet/>
      <dgm:spPr/>
    </dgm:pt>
    <dgm:pt modelId="{9F39C654-EBDF-4912-B31B-7AE79BDF3D67}">
      <dgm:prSet phldr="0"/>
      <dgm:spPr/>
      <dgm:t>
        <a:bodyPr/>
        <a:lstStyle/>
        <a:p>
          <a:pPr rtl="0">
            <a:defRPr b="1"/>
          </a:pPr>
          <a:r>
            <a:rPr lang="en-US" b="1">
              <a:latin typeface="Calibri"/>
              <a:cs typeface="Calibri"/>
            </a:rPr>
            <a:t>Year 9</a:t>
          </a:r>
          <a:endParaRPr lang="en-US"/>
        </a:p>
      </dgm:t>
    </dgm:pt>
    <dgm:pt modelId="{607794E3-49FF-443C-A8F1-9260002CFADD}" type="parTrans" cxnId="{D129A7E3-FC0C-4F9A-BF7B-AE5AE3A3B102}">
      <dgm:prSet/>
      <dgm:spPr/>
    </dgm:pt>
    <dgm:pt modelId="{3E2E1AB1-4932-4200-AFC0-FA8155F692D9}" type="sibTrans" cxnId="{D129A7E3-FC0C-4F9A-BF7B-AE5AE3A3B102}">
      <dgm:prSet/>
      <dgm:spPr/>
    </dgm:pt>
    <dgm:pt modelId="{788C5CD4-8F83-4240-A42F-84706850D688}" type="pres">
      <dgm:prSet presAssocID="{949811E9-2A0F-404C-92BE-ED87A74BDA0E}" presName="root" presStyleCnt="0">
        <dgm:presLayoutVars>
          <dgm:chMax/>
          <dgm:chPref/>
          <dgm:animLvl val="lvl"/>
        </dgm:presLayoutVars>
      </dgm:prSet>
      <dgm:spPr/>
    </dgm:pt>
    <dgm:pt modelId="{A9AE5D65-D7B5-4841-9072-0C93D0A88247}" type="pres">
      <dgm:prSet presAssocID="{949811E9-2A0F-404C-92BE-ED87A74BDA0E}" presName="divider" presStyleLbl="fgAcc1" presStyleIdx="0" presStyleCnt="11"/>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tailEnd type="triangle" w="lg" len="lg"/>
        </a:ln>
        <a:effectLst/>
      </dgm:spPr>
    </dgm:pt>
    <dgm:pt modelId="{F42CA0AF-3CEB-4697-B42A-75CD9089D325}" type="pres">
      <dgm:prSet presAssocID="{949811E9-2A0F-404C-92BE-ED87A74BDA0E}" presName="nodes" presStyleCnt="0">
        <dgm:presLayoutVars>
          <dgm:chMax/>
          <dgm:chPref/>
          <dgm:animLvl val="lvl"/>
        </dgm:presLayoutVars>
      </dgm:prSet>
      <dgm:spPr/>
    </dgm:pt>
    <dgm:pt modelId="{0EFFABB0-EF26-44EA-AF9F-870D09D55D13}" type="pres">
      <dgm:prSet presAssocID="{CD52DF8A-7A2A-4F55-B90E-183499B2BA65}" presName="composite" presStyleCnt="0"/>
      <dgm:spPr/>
    </dgm:pt>
    <dgm:pt modelId="{20BC4390-657E-4C61-AC22-7BE8D092D11A}" type="pres">
      <dgm:prSet presAssocID="{CD52DF8A-7A2A-4F55-B90E-183499B2BA65}" presName="ConnectorPoint" presStyleLbl="lnNode1" presStyleIdx="0"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58737D19-1012-4BBA-8D7A-AFDA09E5B50D}" type="pres">
      <dgm:prSet presAssocID="{CD52DF8A-7A2A-4F55-B90E-183499B2BA65}" presName="DropPinPlaceHolder" presStyleCnt="0"/>
      <dgm:spPr/>
    </dgm:pt>
    <dgm:pt modelId="{0D5FFEE3-21F2-4224-8D64-E3A38B0060B2}" type="pres">
      <dgm:prSet presAssocID="{CD52DF8A-7A2A-4F55-B90E-183499B2BA65}" presName="DropPin" presStyleLbl="alignNode1" presStyleIdx="0" presStyleCnt="10"/>
      <dgm:spPr/>
    </dgm:pt>
    <dgm:pt modelId="{01DA2970-FED7-48E5-A0D5-6E23CCE4C317}" type="pres">
      <dgm:prSet presAssocID="{CD52DF8A-7A2A-4F55-B90E-183499B2BA65}" presName="Ellipse" presStyleLbl="fgAcc1" presStyleIdx="1" presStyleCnt="11"/>
      <dgm:spPr>
        <a:solidFill>
          <a:schemeClr val="lt1">
            <a:alpha val="90000"/>
            <a:hueOff val="0"/>
            <a:satOff val="0"/>
            <a:lumOff val="0"/>
            <a:alphaOff val="0"/>
          </a:schemeClr>
        </a:solidFill>
        <a:ln w="25400" cap="flat" cmpd="sng" algn="ctr">
          <a:noFill/>
          <a:prstDash val="solid"/>
        </a:ln>
        <a:effectLst/>
      </dgm:spPr>
    </dgm:pt>
    <dgm:pt modelId="{A0214BCE-ADBF-40D7-A171-9D9F8E7D314A}" type="pres">
      <dgm:prSet presAssocID="{CD52DF8A-7A2A-4F55-B90E-183499B2BA65}" presName="L2TextContainer" presStyleLbl="revTx" presStyleIdx="0" presStyleCnt="20">
        <dgm:presLayoutVars>
          <dgm:bulletEnabled val="1"/>
        </dgm:presLayoutVars>
      </dgm:prSet>
      <dgm:spPr/>
    </dgm:pt>
    <dgm:pt modelId="{E3507DC7-BF66-4863-A870-6516B021FB2D}" type="pres">
      <dgm:prSet presAssocID="{CD52DF8A-7A2A-4F55-B90E-183499B2BA65}" presName="L1TextContainer" presStyleLbl="revTx" presStyleIdx="1" presStyleCnt="20">
        <dgm:presLayoutVars>
          <dgm:chMax val="1"/>
          <dgm:chPref val="1"/>
          <dgm:bulletEnabled val="1"/>
        </dgm:presLayoutVars>
      </dgm:prSet>
      <dgm:spPr/>
    </dgm:pt>
    <dgm:pt modelId="{687149D8-0E12-44DD-BC6E-7D26515C5A98}" type="pres">
      <dgm:prSet presAssocID="{CD52DF8A-7A2A-4F55-B90E-183499B2BA65}" presName="ConnectLine" presStyleLbl="sibTrans1D1" presStyleIdx="0" presStyleCnt="10"/>
      <dgm:spPr>
        <a:noFill/>
        <a:ln w="12700" cap="flat" cmpd="sng" algn="ctr">
          <a:solidFill>
            <a:schemeClr val="accent2">
              <a:hueOff val="0"/>
              <a:satOff val="0"/>
              <a:lumOff val="0"/>
              <a:alphaOff val="0"/>
            </a:schemeClr>
          </a:solidFill>
          <a:prstDash val="dash"/>
        </a:ln>
        <a:effectLst/>
      </dgm:spPr>
    </dgm:pt>
    <dgm:pt modelId="{1781F86F-55EF-4AAB-A1BF-7BD9438A7E17}" type="pres">
      <dgm:prSet presAssocID="{CD52DF8A-7A2A-4F55-B90E-183499B2BA65}" presName="EmptyPlaceHolder" presStyleCnt="0"/>
      <dgm:spPr/>
    </dgm:pt>
    <dgm:pt modelId="{C4493DBF-2091-4260-963D-5AF8679880AA}" type="pres">
      <dgm:prSet presAssocID="{75B06636-2013-4012-BF41-937C8ACAF1CE}" presName="spaceBetweenRectangles" presStyleCnt="0"/>
      <dgm:spPr/>
    </dgm:pt>
    <dgm:pt modelId="{036D7CCF-F88F-4C5A-A004-F64E975CF02F}" type="pres">
      <dgm:prSet presAssocID="{000E9CF7-09EE-4631-B38C-B52529CD93A9}" presName="composite" presStyleCnt="0"/>
      <dgm:spPr/>
    </dgm:pt>
    <dgm:pt modelId="{C4AC591A-4936-4018-8409-C0A2BC1A737F}" type="pres">
      <dgm:prSet presAssocID="{000E9CF7-09EE-4631-B38C-B52529CD93A9}" presName="ConnectorPoint" presStyleLbl="lnNode1" presStyleIdx="1"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F28288BB-3F2A-4D65-B5AE-19AF82025AA1}" type="pres">
      <dgm:prSet presAssocID="{000E9CF7-09EE-4631-B38C-B52529CD93A9}" presName="DropPinPlaceHolder" presStyleCnt="0"/>
      <dgm:spPr/>
    </dgm:pt>
    <dgm:pt modelId="{24771A23-2CF8-44A4-8EC5-3E455F6C6D49}" type="pres">
      <dgm:prSet presAssocID="{000E9CF7-09EE-4631-B38C-B52529CD93A9}" presName="DropPin" presStyleLbl="alignNode1" presStyleIdx="1" presStyleCnt="10"/>
      <dgm:spPr/>
    </dgm:pt>
    <dgm:pt modelId="{5DEC7EEA-371C-4995-9F34-A22DE734BC8F}" type="pres">
      <dgm:prSet presAssocID="{000E9CF7-09EE-4631-B38C-B52529CD93A9}" presName="Ellipse" presStyleLbl="fgAcc1" presStyleIdx="2" presStyleCnt="11"/>
      <dgm:spPr>
        <a:solidFill>
          <a:schemeClr val="lt1">
            <a:alpha val="90000"/>
            <a:hueOff val="0"/>
            <a:satOff val="0"/>
            <a:lumOff val="0"/>
            <a:alphaOff val="0"/>
          </a:schemeClr>
        </a:solidFill>
        <a:ln w="25400" cap="flat" cmpd="sng" algn="ctr">
          <a:noFill/>
          <a:prstDash val="solid"/>
        </a:ln>
        <a:effectLst/>
      </dgm:spPr>
    </dgm:pt>
    <dgm:pt modelId="{0529F6CA-F0C8-41AC-8A1F-F94492F52C9B}" type="pres">
      <dgm:prSet presAssocID="{000E9CF7-09EE-4631-B38C-B52529CD93A9}" presName="L2TextContainer" presStyleLbl="revTx" presStyleIdx="2" presStyleCnt="20">
        <dgm:presLayoutVars>
          <dgm:bulletEnabled val="1"/>
        </dgm:presLayoutVars>
      </dgm:prSet>
      <dgm:spPr/>
    </dgm:pt>
    <dgm:pt modelId="{6D840BA3-6F3E-4412-B617-11D232043200}" type="pres">
      <dgm:prSet presAssocID="{000E9CF7-09EE-4631-B38C-B52529CD93A9}" presName="L1TextContainer" presStyleLbl="revTx" presStyleIdx="3" presStyleCnt="20">
        <dgm:presLayoutVars>
          <dgm:chMax val="1"/>
          <dgm:chPref val="1"/>
          <dgm:bulletEnabled val="1"/>
        </dgm:presLayoutVars>
      </dgm:prSet>
      <dgm:spPr/>
    </dgm:pt>
    <dgm:pt modelId="{B0930BC1-7D2E-4D39-896C-B6E848409566}" type="pres">
      <dgm:prSet presAssocID="{000E9CF7-09EE-4631-B38C-B52529CD93A9}" presName="ConnectLine" presStyleLbl="sibTrans1D1" presStyleIdx="1" presStyleCnt="10"/>
      <dgm:spPr>
        <a:noFill/>
        <a:ln w="12700" cap="flat" cmpd="sng" algn="ctr">
          <a:solidFill>
            <a:schemeClr val="accent2">
              <a:hueOff val="0"/>
              <a:satOff val="0"/>
              <a:lumOff val="0"/>
              <a:alphaOff val="0"/>
            </a:schemeClr>
          </a:solidFill>
          <a:prstDash val="dash"/>
        </a:ln>
        <a:effectLst/>
      </dgm:spPr>
    </dgm:pt>
    <dgm:pt modelId="{2B257FEE-468F-4896-A30A-CEE382C6B4E7}" type="pres">
      <dgm:prSet presAssocID="{000E9CF7-09EE-4631-B38C-B52529CD93A9}" presName="EmptyPlaceHolder" presStyleCnt="0"/>
      <dgm:spPr/>
    </dgm:pt>
    <dgm:pt modelId="{0A484FF6-1508-4F7C-8963-E89150C11837}" type="pres">
      <dgm:prSet presAssocID="{E88F72AF-A7B1-41A7-96B4-6F21478B9F43}" presName="spaceBetweenRectangles" presStyleCnt="0"/>
      <dgm:spPr/>
    </dgm:pt>
    <dgm:pt modelId="{02586D73-DF68-4CDE-B58A-F213A826E1AD}" type="pres">
      <dgm:prSet presAssocID="{AE205852-90DA-4810-8051-EB6B45A5CEB5}" presName="composite" presStyleCnt="0"/>
      <dgm:spPr/>
    </dgm:pt>
    <dgm:pt modelId="{D09969F4-02D0-4E24-8F84-AFC7B3D176D9}" type="pres">
      <dgm:prSet presAssocID="{AE205852-90DA-4810-8051-EB6B45A5CEB5}" presName="ConnectorPoint" presStyleLbl="lnNode1" presStyleIdx="2"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BE4057BD-12F8-4B1D-B5FF-7D0E939E92F5}" type="pres">
      <dgm:prSet presAssocID="{AE205852-90DA-4810-8051-EB6B45A5CEB5}" presName="DropPinPlaceHolder" presStyleCnt="0"/>
      <dgm:spPr/>
    </dgm:pt>
    <dgm:pt modelId="{C7C68994-E2C0-4C01-8906-A14F495551B9}" type="pres">
      <dgm:prSet presAssocID="{AE205852-90DA-4810-8051-EB6B45A5CEB5}" presName="DropPin" presStyleLbl="alignNode1" presStyleIdx="2" presStyleCnt="10"/>
      <dgm:spPr/>
    </dgm:pt>
    <dgm:pt modelId="{8A9A6839-5C64-4D39-8FA1-77BB63DD6AC2}" type="pres">
      <dgm:prSet presAssocID="{AE205852-90DA-4810-8051-EB6B45A5CEB5}" presName="Ellipse" presStyleLbl="fgAcc1" presStyleIdx="3" presStyleCnt="11"/>
      <dgm:spPr>
        <a:solidFill>
          <a:schemeClr val="lt1">
            <a:alpha val="90000"/>
            <a:hueOff val="0"/>
            <a:satOff val="0"/>
            <a:lumOff val="0"/>
            <a:alphaOff val="0"/>
          </a:schemeClr>
        </a:solidFill>
        <a:ln w="25400" cap="flat" cmpd="sng" algn="ctr">
          <a:noFill/>
          <a:prstDash val="solid"/>
        </a:ln>
        <a:effectLst/>
      </dgm:spPr>
    </dgm:pt>
    <dgm:pt modelId="{BCAAE555-609B-4EAC-81A1-D6F7043ED396}" type="pres">
      <dgm:prSet presAssocID="{AE205852-90DA-4810-8051-EB6B45A5CEB5}" presName="L2TextContainer" presStyleLbl="revTx" presStyleIdx="4" presStyleCnt="20">
        <dgm:presLayoutVars>
          <dgm:bulletEnabled val="1"/>
        </dgm:presLayoutVars>
      </dgm:prSet>
      <dgm:spPr/>
    </dgm:pt>
    <dgm:pt modelId="{61CEEA00-B311-4CD3-9B01-893A5E09FD6E}" type="pres">
      <dgm:prSet presAssocID="{AE205852-90DA-4810-8051-EB6B45A5CEB5}" presName="L1TextContainer" presStyleLbl="revTx" presStyleIdx="5" presStyleCnt="20">
        <dgm:presLayoutVars>
          <dgm:chMax val="1"/>
          <dgm:chPref val="1"/>
          <dgm:bulletEnabled val="1"/>
        </dgm:presLayoutVars>
      </dgm:prSet>
      <dgm:spPr/>
    </dgm:pt>
    <dgm:pt modelId="{5ACBD1FB-5E66-44E0-8119-18AA7C435F99}" type="pres">
      <dgm:prSet presAssocID="{AE205852-90DA-4810-8051-EB6B45A5CEB5}" presName="ConnectLine" presStyleLbl="sibTrans1D1" presStyleIdx="2" presStyleCnt="10"/>
      <dgm:spPr>
        <a:noFill/>
        <a:ln w="12700" cap="flat" cmpd="sng" algn="ctr">
          <a:solidFill>
            <a:schemeClr val="accent2">
              <a:hueOff val="0"/>
              <a:satOff val="0"/>
              <a:lumOff val="0"/>
              <a:alphaOff val="0"/>
            </a:schemeClr>
          </a:solidFill>
          <a:prstDash val="dash"/>
        </a:ln>
        <a:effectLst/>
      </dgm:spPr>
    </dgm:pt>
    <dgm:pt modelId="{61FD44EC-7C55-49D8-92DD-6F4947429B64}" type="pres">
      <dgm:prSet presAssocID="{AE205852-90DA-4810-8051-EB6B45A5CEB5}" presName="EmptyPlaceHolder" presStyleCnt="0"/>
      <dgm:spPr/>
    </dgm:pt>
    <dgm:pt modelId="{F6E1BACD-16EA-4B2D-8329-4A547B505577}" type="pres">
      <dgm:prSet presAssocID="{3550CAD8-8579-4975-A13E-27D0217EF542}" presName="spaceBetweenRectangles" presStyleCnt="0"/>
      <dgm:spPr/>
    </dgm:pt>
    <dgm:pt modelId="{5C878F26-39B7-410C-BC33-AEC9BAA37BBB}" type="pres">
      <dgm:prSet presAssocID="{803043DE-C1C3-4038-BB9C-68CA5CF15C08}" presName="composite" presStyleCnt="0"/>
      <dgm:spPr/>
    </dgm:pt>
    <dgm:pt modelId="{BAB73B9B-8581-4F52-9190-FCE34F4BAC76}" type="pres">
      <dgm:prSet presAssocID="{803043DE-C1C3-4038-BB9C-68CA5CF15C08}" presName="ConnectorPoint" presStyleLbl="lnNode1" presStyleIdx="3"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7506EDC8-FF5C-47D2-9BAC-365F4D704A66}" type="pres">
      <dgm:prSet presAssocID="{803043DE-C1C3-4038-BB9C-68CA5CF15C08}" presName="DropPinPlaceHolder" presStyleCnt="0"/>
      <dgm:spPr/>
    </dgm:pt>
    <dgm:pt modelId="{016FB358-C363-4496-BFDC-BAEA7401FC20}" type="pres">
      <dgm:prSet presAssocID="{803043DE-C1C3-4038-BB9C-68CA5CF15C08}" presName="DropPin" presStyleLbl="alignNode1" presStyleIdx="3" presStyleCnt="10"/>
      <dgm:spPr/>
    </dgm:pt>
    <dgm:pt modelId="{A3054524-21EF-4697-A733-651677988B76}" type="pres">
      <dgm:prSet presAssocID="{803043DE-C1C3-4038-BB9C-68CA5CF15C08}" presName="Ellipse" presStyleLbl="fgAcc1" presStyleIdx="4" presStyleCnt="11"/>
      <dgm:spPr>
        <a:solidFill>
          <a:schemeClr val="lt1">
            <a:alpha val="90000"/>
            <a:hueOff val="0"/>
            <a:satOff val="0"/>
            <a:lumOff val="0"/>
            <a:alphaOff val="0"/>
          </a:schemeClr>
        </a:solidFill>
        <a:ln w="25400" cap="flat" cmpd="sng" algn="ctr">
          <a:noFill/>
          <a:prstDash val="solid"/>
        </a:ln>
        <a:effectLst/>
      </dgm:spPr>
    </dgm:pt>
    <dgm:pt modelId="{29BBA8A5-07A1-45A7-BC54-B49994764BA2}" type="pres">
      <dgm:prSet presAssocID="{803043DE-C1C3-4038-BB9C-68CA5CF15C08}" presName="L2TextContainer" presStyleLbl="revTx" presStyleIdx="6" presStyleCnt="20">
        <dgm:presLayoutVars>
          <dgm:bulletEnabled val="1"/>
        </dgm:presLayoutVars>
      </dgm:prSet>
      <dgm:spPr/>
    </dgm:pt>
    <dgm:pt modelId="{DBA738E1-0A3F-4671-A3AE-7100C602C512}" type="pres">
      <dgm:prSet presAssocID="{803043DE-C1C3-4038-BB9C-68CA5CF15C08}" presName="L1TextContainer" presStyleLbl="revTx" presStyleIdx="7" presStyleCnt="20">
        <dgm:presLayoutVars>
          <dgm:chMax val="1"/>
          <dgm:chPref val="1"/>
          <dgm:bulletEnabled val="1"/>
        </dgm:presLayoutVars>
      </dgm:prSet>
      <dgm:spPr/>
    </dgm:pt>
    <dgm:pt modelId="{30B0D726-4912-43F9-A1AE-1733417C4979}" type="pres">
      <dgm:prSet presAssocID="{803043DE-C1C3-4038-BB9C-68CA5CF15C08}" presName="ConnectLine" presStyleLbl="sibTrans1D1" presStyleIdx="3" presStyleCnt="10"/>
      <dgm:spPr>
        <a:noFill/>
        <a:ln w="12700" cap="flat" cmpd="sng" algn="ctr">
          <a:solidFill>
            <a:schemeClr val="accent2">
              <a:hueOff val="0"/>
              <a:satOff val="0"/>
              <a:lumOff val="0"/>
              <a:alphaOff val="0"/>
            </a:schemeClr>
          </a:solidFill>
          <a:prstDash val="dash"/>
        </a:ln>
        <a:effectLst/>
      </dgm:spPr>
    </dgm:pt>
    <dgm:pt modelId="{2C1C9DB2-14B0-4422-929E-BC5175891851}" type="pres">
      <dgm:prSet presAssocID="{803043DE-C1C3-4038-BB9C-68CA5CF15C08}" presName="EmptyPlaceHolder" presStyleCnt="0"/>
      <dgm:spPr/>
    </dgm:pt>
    <dgm:pt modelId="{896F22D2-FE4B-4FCE-A9F1-EC341B4340B1}" type="pres">
      <dgm:prSet presAssocID="{C65F3DF2-83C9-4FE2-AC1A-EC6016AC2719}" presName="spaceBetweenRectangles" presStyleCnt="0"/>
      <dgm:spPr/>
    </dgm:pt>
    <dgm:pt modelId="{E9B51A93-6961-421B-A176-DE314C074EEE}" type="pres">
      <dgm:prSet presAssocID="{96E84DF9-E3F6-42E4-976D-A24C8B33DEA1}" presName="composite" presStyleCnt="0"/>
      <dgm:spPr/>
    </dgm:pt>
    <dgm:pt modelId="{C04ECEF5-9B0E-406F-81AB-93A1AB1EFC97}" type="pres">
      <dgm:prSet presAssocID="{96E84DF9-E3F6-42E4-976D-A24C8B33DEA1}" presName="ConnectorPoint" presStyleLbl="lnNode1" presStyleIdx="4"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33C9C12C-5872-4BDC-AA8A-48C8935E411E}" type="pres">
      <dgm:prSet presAssocID="{96E84DF9-E3F6-42E4-976D-A24C8B33DEA1}" presName="DropPinPlaceHolder" presStyleCnt="0"/>
      <dgm:spPr/>
    </dgm:pt>
    <dgm:pt modelId="{BED06FE5-CD2A-4DF9-8CA2-341036D4127C}" type="pres">
      <dgm:prSet presAssocID="{96E84DF9-E3F6-42E4-976D-A24C8B33DEA1}" presName="DropPin" presStyleLbl="alignNode1" presStyleIdx="4" presStyleCnt="10"/>
      <dgm:spPr/>
    </dgm:pt>
    <dgm:pt modelId="{F4ACA0AE-3DE8-4346-82A0-3E884FE6E8A5}" type="pres">
      <dgm:prSet presAssocID="{96E84DF9-E3F6-42E4-976D-A24C8B33DEA1}" presName="Ellipse" presStyleLbl="fgAcc1" presStyleIdx="5" presStyleCnt="11"/>
      <dgm:spPr>
        <a:solidFill>
          <a:schemeClr val="lt1">
            <a:alpha val="90000"/>
            <a:hueOff val="0"/>
            <a:satOff val="0"/>
            <a:lumOff val="0"/>
            <a:alphaOff val="0"/>
          </a:schemeClr>
        </a:solidFill>
        <a:ln w="25400" cap="flat" cmpd="sng" algn="ctr">
          <a:noFill/>
          <a:prstDash val="solid"/>
        </a:ln>
        <a:effectLst/>
      </dgm:spPr>
    </dgm:pt>
    <dgm:pt modelId="{71ACCB0C-8736-4C76-A4D1-B491BAA21D06}" type="pres">
      <dgm:prSet presAssocID="{96E84DF9-E3F6-42E4-976D-A24C8B33DEA1}" presName="L2TextContainer" presStyleLbl="revTx" presStyleIdx="8" presStyleCnt="20">
        <dgm:presLayoutVars>
          <dgm:bulletEnabled val="1"/>
        </dgm:presLayoutVars>
      </dgm:prSet>
      <dgm:spPr/>
    </dgm:pt>
    <dgm:pt modelId="{D2A86D13-04CE-481F-A6DA-BA2D2C728232}" type="pres">
      <dgm:prSet presAssocID="{96E84DF9-E3F6-42E4-976D-A24C8B33DEA1}" presName="L1TextContainer" presStyleLbl="revTx" presStyleIdx="9" presStyleCnt="20">
        <dgm:presLayoutVars>
          <dgm:chMax val="1"/>
          <dgm:chPref val="1"/>
          <dgm:bulletEnabled val="1"/>
        </dgm:presLayoutVars>
      </dgm:prSet>
      <dgm:spPr/>
    </dgm:pt>
    <dgm:pt modelId="{3094E136-C0BC-48C3-8D7C-B58A14261D42}" type="pres">
      <dgm:prSet presAssocID="{96E84DF9-E3F6-42E4-976D-A24C8B33DEA1}" presName="ConnectLine" presStyleLbl="sibTrans1D1" presStyleIdx="4" presStyleCnt="10"/>
      <dgm:spPr>
        <a:noFill/>
        <a:ln w="12700" cap="flat" cmpd="sng" algn="ctr">
          <a:solidFill>
            <a:schemeClr val="accent2">
              <a:hueOff val="0"/>
              <a:satOff val="0"/>
              <a:lumOff val="0"/>
              <a:alphaOff val="0"/>
            </a:schemeClr>
          </a:solidFill>
          <a:prstDash val="dash"/>
        </a:ln>
        <a:effectLst/>
      </dgm:spPr>
    </dgm:pt>
    <dgm:pt modelId="{AA1F08B3-B84A-4DD7-8A88-86E8D9438A19}" type="pres">
      <dgm:prSet presAssocID="{96E84DF9-E3F6-42E4-976D-A24C8B33DEA1}" presName="EmptyPlaceHolder" presStyleCnt="0"/>
      <dgm:spPr/>
    </dgm:pt>
    <dgm:pt modelId="{8A19A255-B9A5-4D2F-8424-1A308042B219}" type="pres">
      <dgm:prSet presAssocID="{56EF9B2B-F0E2-4D1D-AD37-3457566DFF3F}" presName="spaceBetweenRectangles" presStyleCnt="0"/>
      <dgm:spPr/>
    </dgm:pt>
    <dgm:pt modelId="{71C92D5C-F807-491A-A7EC-0F54454E2AB3}" type="pres">
      <dgm:prSet presAssocID="{544BB1EF-5414-4858-A01E-1FC6C6D870D0}" presName="composite" presStyleCnt="0"/>
      <dgm:spPr/>
    </dgm:pt>
    <dgm:pt modelId="{AC10EC62-85F6-4516-95FC-6691E8E5E9E0}" type="pres">
      <dgm:prSet presAssocID="{544BB1EF-5414-4858-A01E-1FC6C6D870D0}" presName="ConnectorPoint" presStyleLbl="lnNode1" presStyleIdx="5"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7F196947-5F69-4850-88E2-4BF2C07B090B}" type="pres">
      <dgm:prSet presAssocID="{544BB1EF-5414-4858-A01E-1FC6C6D870D0}" presName="DropPinPlaceHolder" presStyleCnt="0"/>
      <dgm:spPr/>
    </dgm:pt>
    <dgm:pt modelId="{3F6A0EB8-61F8-47FF-B9F5-D253A872D518}" type="pres">
      <dgm:prSet presAssocID="{544BB1EF-5414-4858-A01E-1FC6C6D870D0}" presName="DropPin" presStyleLbl="alignNode1" presStyleIdx="5" presStyleCnt="10"/>
      <dgm:spPr/>
    </dgm:pt>
    <dgm:pt modelId="{D265E501-BF70-41BC-AD63-626C93807789}" type="pres">
      <dgm:prSet presAssocID="{544BB1EF-5414-4858-A01E-1FC6C6D870D0}" presName="Ellipse" presStyleLbl="fgAcc1" presStyleIdx="6" presStyleCnt="11"/>
      <dgm:spPr>
        <a:solidFill>
          <a:schemeClr val="lt1">
            <a:alpha val="90000"/>
            <a:hueOff val="0"/>
            <a:satOff val="0"/>
            <a:lumOff val="0"/>
            <a:alphaOff val="0"/>
          </a:schemeClr>
        </a:solidFill>
        <a:ln w="25400" cap="flat" cmpd="sng" algn="ctr">
          <a:noFill/>
          <a:prstDash val="solid"/>
        </a:ln>
        <a:effectLst/>
      </dgm:spPr>
    </dgm:pt>
    <dgm:pt modelId="{A607FEBF-2F4B-4EB7-AEC5-0ECC5EBE9BB3}" type="pres">
      <dgm:prSet presAssocID="{544BB1EF-5414-4858-A01E-1FC6C6D870D0}" presName="L2TextContainer" presStyleLbl="revTx" presStyleIdx="10" presStyleCnt="20">
        <dgm:presLayoutVars>
          <dgm:bulletEnabled val="1"/>
        </dgm:presLayoutVars>
      </dgm:prSet>
      <dgm:spPr/>
    </dgm:pt>
    <dgm:pt modelId="{F78420A8-299F-4D3E-A0E5-D6D9F1A6D24A}" type="pres">
      <dgm:prSet presAssocID="{544BB1EF-5414-4858-A01E-1FC6C6D870D0}" presName="L1TextContainer" presStyleLbl="revTx" presStyleIdx="11" presStyleCnt="20">
        <dgm:presLayoutVars>
          <dgm:chMax val="1"/>
          <dgm:chPref val="1"/>
          <dgm:bulletEnabled val="1"/>
        </dgm:presLayoutVars>
      </dgm:prSet>
      <dgm:spPr/>
    </dgm:pt>
    <dgm:pt modelId="{D5089989-13FA-4B5D-BAA3-FDA55DA1D2CA}" type="pres">
      <dgm:prSet presAssocID="{544BB1EF-5414-4858-A01E-1FC6C6D870D0}" presName="ConnectLine" presStyleLbl="sibTrans1D1" presStyleIdx="5" presStyleCnt="10"/>
      <dgm:spPr>
        <a:noFill/>
        <a:ln w="12700" cap="flat" cmpd="sng" algn="ctr">
          <a:solidFill>
            <a:schemeClr val="accent2">
              <a:hueOff val="0"/>
              <a:satOff val="0"/>
              <a:lumOff val="0"/>
              <a:alphaOff val="0"/>
            </a:schemeClr>
          </a:solidFill>
          <a:prstDash val="dash"/>
        </a:ln>
        <a:effectLst/>
      </dgm:spPr>
    </dgm:pt>
    <dgm:pt modelId="{97FF3BDB-E1F9-4411-9F47-07D652553925}" type="pres">
      <dgm:prSet presAssocID="{544BB1EF-5414-4858-A01E-1FC6C6D870D0}" presName="EmptyPlaceHolder" presStyleCnt="0"/>
      <dgm:spPr/>
    </dgm:pt>
    <dgm:pt modelId="{6F0D8036-282A-457F-951E-995C6DB7C371}" type="pres">
      <dgm:prSet presAssocID="{3CE2A833-0094-43B2-8B69-25B38E6DCC38}" presName="spaceBetweenRectangles" presStyleCnt="0"/>
      <dgm:spPr/>
    </dgm:pt>
    <dgm:pt modelId="{6223C64D-6874-48DE-B5B4-BD283E941EF2}" type="pres">
      <dgm:prSet presAssocID="{CB587F8C-F6F1-4B2A-9FF3-FE263D56FE78}" presName="composite" presStyleCnt="0"/>
      <dgm:spPr/>
    </dgm:pt>
    <dgm:pt modelId="{20C0A437-A11E-4790-949C-FC06F37F2775}" type="pres">
      <dgm:prSet presAssocID="{CB587F8C-F6F1-4B2A-9FF3-FE263D56FE78}" presName="ConnectorPoint" presStyleLbl="lnNode1" presStyleIdx="6"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23AF35CA-BCE1-44DA-9D86-C58566A2FA6F}" type="pres">
      <dgm:prSet presAssocID="{CB587F8C-F6F1-4B2A-9FF3-FE263D56FE78}" presName="DropPinPlaceHolder" presStyleCnt="0"/>
      <dgm:spPr/>
    </dgm:pt>
    <dgm:pt modelId="{13984269-4A30-40FF-8975-79CABCAAB055}" type="pres">
      <dgm:prSet presAssocID="{CB587F8C-F6F1-4B2A-9FF3-FE263D56FE78}" presName="DropPin" presStyleLbl="alignNode1" presStyleIdx="6" presStyleCnt="10"/>
      <dgm:spPr/>
    </dgm:pt>
    <dgm:pt modelId="{6793E0FB-9548-4421-B259-61757A71CB73}" type="pres">
      <dgm:prSet presAssocID="{CB587F8C-F6F1-4B2A-9FF3-FE263D56FE78}" presName="Ellipse" presStyleLbl="fgAcc1" presStyleIdx="7" presStyleCnt="11"/>
      <dgm:spPr>
        <a:solidFill>
          <a:schemeClr val="lt1">
            <a:alpha val="90000"/>
            <a:hueOff val="0"/>
            <a:satOff val="0"/>
            <a:lumOff val="0"/>
            <a:alphaOff val="0"/>
          </a:schemeClr>
        </a:solidFill>
        <a:ln w="25400" cap="flat" cmpd="sng" algn="ctr">
          <a:noFill/>
          <a:prstDash val="solid"/>
        </a:ln>
        <a:effectLst/>
      </dgm:spPr>
    </dgm:pt>
    <dgm:pt modelId="{0EC56713-F1C1-4A52-9B90-156EC783CCD2}" type="pres">
      <dgm:prSet presAssocID="{CB587F8C-F6F1-4B2A-9FF3-FE263D56FE78}" presName="L2TextContainer" presStyleLbl="revTx" presStyleIdx="12" presStyleCnt="20">
        <dgm:presLayoutVars>
          <dgm:bulletEnabled val="1"/>
        </dgm:presLayoutVars>
      </dgm:prSet>
      <dgm:spPr/>
    </dgm:pt>
    <dgm:pt modelId="{5F8278C0-7FF3-47F7-B87C-9309046C995F}" type="pres">
      <dgm:prSet presAssocID="{CB587F8C-F6F1-4B2A-9FF3-FE263D56FE78}" presName="L1TextContainer" presStyleLbl="revTx" presStyleIdx="13" presStyleCnt="20">
        <dgm:presLayoutVars>
          <dgm:chMax val="1"/>
          <dgm:chPref val="1"/>
          <dgm:bulletEnabled val="1"/>
        </dgm:presLayoutVars>
      </dgm:prSet>
      <dgm:spPr/>
    </dgm:pt>
    <dgm:pt modelId="{813D2901-A6B1-4C57-81C0-A008DFEE6E21}" type="pres">
      <dgm:prSet presAssocID="{CB587F8C-F6F1-4B2A-9FF3-FE263D56FE78}" presName="ConnectLine" presStyleLbl="sibTrans1D1" presStyleIdx="6" presStyleCnt="10"/>
      <dgm:spPr>
        <a:noFill/>
        <a:ln w="12700" cap="flat" cmpd="sng" algn="ctr">
          <a:solidFill>
            <a:schemeClr val="accent2">
              <a:hueOff val="0"/>
              <a:satOff val="0"/>
              <a:lumOff val="0"/>
              <a:alphaOff val="0"/>
            </a:schemeClr>
          </a:solidFill>
          <a:prstDash val="dash"/>
        </a:ln>
        <a:effectLst/>
      </dgm:spPr>
    </dgm:pt>
    <dgm:pt modelId="{2EFD75A9-01DA-42EE-A294-89A8F123D946}" type="pres">
      <dgm:prSet presAssocID="{CB587F8C-F6F1-4B2A-9FF3-FE263D56FE78}" presName="EmptyPlaceHolder" presStyleCnt="0"/>
      <dgm:spPr/>
    </dgm:pt>
    <dgm:pt modelId="{E110AF5D-EC41-41C2-8B95-72F4E78E0EA3}" type="pres">
      <dgm:prSet presAssocID="{293182FD-15D5-4C95-807F-9625FAE3CBDB}" presName="spaceBetweenRectangles" presStyleCnt="0"/>
      <dgm:spPr/>
    </dgm:pt>
    <dgm:pt modelId="{E24F2C9A-8756-4C63-9ACD-AC46D3402619}" type="pres">
      <dgm:prSet presAssocID="{053E428D-121A-45C8-A152-FFB343E08FDA}" presName="composite" presStyleCnt="0"/>
      <dgm:spPr/>
    </dgm:pt>
    <dgm:pt modelId="{E2984DF9-E2AF-4598-B9C3-6C184FB82837}" type="pres">
      <dgm:prSet presAssocID="{053E428D-121A-45C8-A152-FFB343E08FDA}" presName="ConnectorPoint" presStyleLbl="lnNode1" presStyleIdx="7"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99BB3DD2-6F0F-4446-ABE1-A1DD907877FD}" type="pres">
      <dgm:prSet presAssocID="{053E428D-121A-45C8-A152-FFB343E08FDA}" presName="DropPinPlaceHolder" presStyleCnt="0"/>
      <dgm:spPr/>
    </dgm:pt>
    <dgm:pt modelId="{CD202D85-C69B-4E20-85FF-BD571C7EE797}" type="pres">
      <dgm:prSet presAssocID="{053E428D-121A-45C8-A152-FFB343E08FDA}" presName="DropPin" presStyleLbl="alignNode1" presStyleIdx="7" presStyleCnt="10"/>
      <dgm:spPr/>
    </dgm:pt>
    <dgm:pt modelId="{835D2D97-45B3-4857-AE44-25C75A6E4BF6}" type="pres">
      <dgm:prSet presAssocID="{053E428D-121A-45C8-A152-FFB343E08FDA}" presName="Ellipse" presStyleLbl="fgAcc1" presStyleIdx="8" presStyleCnt="11"/>
      <dgm:spPr>
        <a:solidFill>
          <a:schemeClr val="lt1">
            <a:alpha val="90000"/>
            <a:hueOff val="0"/>
            <a:satOff val="0"/>
            <a:lumOff val="0"/>
            <a:alphaOff val="0"/>
          </a:schemeClr>
        </a:solidFill>
        <a:ln w="25400" cap="flat" cmpd="sng" algn="ctr">
          <a:noFill/>
          <a:prstDash val="solid"/>
        </a:ln>
        <a:effectLst/>
      </dgm:spPr>
    </dgm:pt>
    <dgm:pt modelId="{10FC98DD-F804-40FB-B142-27BC6DE92DAA}" type="pres">
      <dgm:prSet presAssocID="{053E428D-121A-45C8-A152-FFB343E08FDA}" presName="L2TextContainer" presStyleLbl="revTx" presStyleIdx="14" presStyleCnt="20">
        <dgm:presLayoutVars>
          <dgm:bulletEnabled val="1"/>
        </dgm:presLayoutVars>
      </dgm:prSet>
      <dgm:spPr/>
    </dgm:pt>
    <dgm:pt modelId="{171A52F2-4F0D-45EA-9554-D2D098D66F27}" type="pres">
      <dgm:prSet presAssocID="{053E428D-121A-45C8-A152-FFB343E08FDA}" presName="L1TextContainer" presStyleLbl="revTx" presStyleIdx="15" presStyleCnt="20">
        <dgm:presLayoutVars>
          <dgm:chMax val="1"/>
          <dgm:chPref val="1"/>
          <dgm:bulletEnabled val="1"/>
        </dgm:presLayoutVars>
      </dgm:prSet>
      <dgm:spPr/>
    </dgm:pt>
    <dgm:pt modelId="{B7A2DA57-B765-45F0-BFAA-757342E464AD}" type="pres">
      <dgm:prSet presAssocID="{053E428D-121A-45C8-A152-FFB343E08FDA}" presName="ConnectLine" presStyleLbl="sibTrans1D1" presStyleIdx="7" presStyleCnt="10"/>
      <dgm:spPr>
        <a:noFill/>
        <a:ln w="12700" cap="flat" cmpd="sng" algn="ctr">
          <a:solidFill>
            <a:schemeClr val="accent2">
              <a:hueOff val="0"/>
              <a:satOff val="0"/>
              <a:lumOff val="0"/>
              <a:alphaOff val="0"/>
            </a:schemeClr>
          </a:solidFill>
          <a:prstDash val="dash"/>
        </a:ln>
        <a:effectLst/>
      </dgm:spPr>
    </dgm:pt>
    <dgm:pt modelId="{B4612D7D-3E09-4E0E-AB5F-112E200D1D94}" type="pres">
      <dgm:prSet presAssocID="{053E428D-121A-45C8-A152-FFB343E08FDA}" presName="EmptyPlaceHolder" presStyleCnt="0"/>
      <dgm:spPr/>
    </dgm:pt>
    <dgm:pt modelId="{BE8151D8-C0F2-49EC-91E8-A0CC2011E9A1}" type="pres">
      <dgm:prSet presAssocID="{3D6713E0-65F5-4755-9EBD-76F35190D9C0}" presName="spaceBetweenRectangles" presStyleCnt="0"/>
      <dgm:spPr/>
    </dgm:pt>
    <dgm:pt modelId="{BC8E6712-5583-4183-BA56-7CF90F690F14}" type="pres">
      <dgm:prSet presAssocID="{9F39C654-EBDF-4912-B31B-7AE79BDF3D67}" presName="composite" presStyleCnt="0"/>
      <dgm:spPr/>
    </dgm:pt>
    <dgm:pt modelId="{90F3E0A5-72AC-42C0-8907-EACF239FDFD3}" type="pres">
      <dgm:prSet presAssocID="{9F39C654-EBDF-4912-B31B-7AE79BDF3D67}" presName="ConnectorPoint" presStyleLbl="lnNode1" presStyleIdx="8"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C0CD27F5-92C7-4DEC-8ACE-9CF2BB1F0387}" type="pres">
      <dgm:prSet presAssocID="{9F39C654-EBDF-4912-B31B-7AE79BDF3D67}" presName="DropPinPlaceHolder" presStyleCnt="0"/>
      <dgm:spPr/>
    </dgm:pt>
    <dgm:pt modelId="{323D1272-4205-4DE2-9DDA-14A6F1F85A0D}" type="pres">
      <dgm:prSet presAssocID="{9F39C654-EBDF-4912-B31B-7AE79BDF3D67}" presName="DropPin" presStyleLbl="alignNode1" presStyleIdx="8" presStyleCnt="10"/>
      <dgm:spPr/>
    </dgm:pt>
    <dgm:pt modelId="{6C001EAA-FCEE-44D6-A479-F7BC335FCC05}" type="pres">
      <dgm:prSet presAssocID="{9F39C654-EBDF-4912-B31B-7AE79BDF3D67}" presName="Ellipse" presStyleLbl="fgAcc1" presStyleIdx="9" presStyleCnt="11"/>
      <dgm:spPr>
        <a:solidFill>
          <a:schemeClr val="lt1">
            <a:alpha val="90000"/>
            <a:hueOff val="0"/>
            <a:satOff val="0"/>
            <a:lumOff val="0"/>
            <a:alphaOff val="0"/>
          </a:schemeClr>
        </a:solidFill>
        <a:ln w="25400" cap="flat" cmpd="sng" algn="ctr">
          <a:noFill/>
          <a:prstDash val="solid"/>
        </a:ln>
        <a:effectLst/>
      </dgm:spPr>
    </dgm:pt>
    <dgm:pt modelId="{514D1F3B-6F09-405A-8135-6A686749B576}" type="pres">
      <dgm:prSet presAssocID="{9F39C654-EBDF-4912-B31B-7AE79BDF3D67}" presName="L2TextContainer" presStyleLbl="revTx" presStyleIdx="16" presStyleCnt="20">
        <dgm:presLayoutVars>
          <dgm:bulletEnabled val="1"/>
        </dgm:presLayoutVars>
      </dgm:prSet>
      <dgm:spPr/>
    </dgm:pt>
    <dgm:pt modelId="{E358AB22-A5D9-4C0B-BB57-B99B189F189F}" type="pres">
      <dgm:prSet presAssocID="{9F39C654-EBDF-4912-B31B-7AE79BDF3D67}" presName="L1TextContainer" presStyleLbl="revTx" presStyleIdx="17" presStyleCnt="20">
        <dgm:presLayoutVars>
          <dgm:chMax val="1"/>
          <dgm:chPref val="1"/>
          <dgm:bulletEnabled val="1"/>
        </dgm:presLayoutVars>
      </dgm:prSet>
      <dgm:spPr/>
    </dgm:pt>
    <dgm:pt modelId="{C158A821-995C-4AF3-A0D7-97473E4D3454}" type="pres">
      <dgm:prSet presAssocID="{9F39C654-EBDF-4912-B31B-7AE79BDF3D67}" presName="ConnectLine" presStyleLbl="sibTrans1D1" presStyleIdx="8" presStyleCnt="10"/>
      <dgm:spPr>
        <a:noFill/>
        <a:ln w="12700" cap="flat" cmpd="sng" algn="ctr">
          <a:solidFill>
            <a:schemeClr val="accent2">
              <a:hueOff val="0"/>
              <a:satOff val="0"/>
              <a:lumOff val="0"/>
              <a:alphaOff val="0"/>
            </a:schemeClr>
          </a:solidFill>
          <a:prstDash val="dash"/>
        </a:ln>
        <a:effectLst/>
      </dgm:spPr>
    </dgm:pt>
    <dgm:pt modelId="{F7B0BB42-9137-4F0A-A993-A857056310C3}" type="pres">
      <dgm:prSet presAssocID="{9F39C654-EBDF-4912-B31B-7AE79BDF3D67}" presName="EmptyPlaceHolder" presStyleCnt="0"/>
      <dgm:spPr/>
    </dgm:pt>
    <dgm:pt modelId="{074CC1B3-8068-4F84-9442-E992DF066137}" type="pres">
      <dgm:prSet presAssocID="{3E2E1AB1-4932-4200-AFC0-FA8155F692D9}" presName="spaceBetweenRectangles" presStyleCnt="0"/>
      <dgm:spPr/>
    </dgm:pt>
    <dgm:pt modelId="{0DC81925-6A7C-4801-A56F-2D82304FFEC2}" type="pres">
      <dgm:prSet presAssocID="{6066EB94-7EFC-4DC2-ACD0-4D950F79587C}" presName="composite" presStyleCnt="0"/>
      <dgm:spPr/>
    </dgm:pt>
    <dgm:pt modelId="{08CDEA4A-6E9F-4AFB-97D0-4ABB3EB98C8D}" type="pres">
      <dgm:prSet presAssocID="{6066EB94-7EFC-4DC2-ACD0-4D950F79587C}" presName="ConnectorPoint" presStyleLbl="lnNode1" presStyleIdx="9" presStyleCnt="10"/>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gm:spPr>
    </dgm:pt>
    <dgm:pt modelId="{5200E744-2073-44CD-B2AA-446FF932451A}" type="pres">
      <dgm:prSet presAssocID="{6066EB94-7EFC-4DC2-ACD0-4D950F79587C}" presName="DropPinPlaceHolder" presStyleCnt="0"/>
      <dgm:spPr/>
    </dgm:pt>
    <dgm:pt modelId="{AB9E6591-7771-4993-9199-0625DBE3E12B}" type="pres">
      <dgm:prSet presAssocID="{6066EB94-7EFC-4DC2-ACD0-4D950F79587C}" presName="DropPin" presStyleLbl="alignNode1" presStyleIdx="9" presStyleCnt="10"/>
      <dgm:spPr/>
    </dgm:pt>
    <dgm:pt modelId="{A0C9C058-E846-41A9-9EEE-C07D4B5F9188}" type="pres">
      <dgm:prSet presAssocID="{6066EB94-7EFC-4DC2-ACD0-4D950F79587C}" presName="Ellipse" presStyleLbl="fgAcc1" presStyleIdx="10" presStyleCnt="11"/>
      <dgm:spPr>
        <a:solidFill>
          <a:schemeClr val="lt1">
            <a:alpha val="90000"/>
            <a:hueOff val="0"/>
            <a:satOff val="0"/>
            <a:lumOff val="0"/>
            <a:alphaOff val="0"/>
          </a:schemeClr>
        </a:solidFill>
        <a:ln w="25400" cap="flat" cmpd="sng" algn="ctr">
          <a:noFill/>
          <a:prstDash val="solid"/>
        </a:ln>
        <a:effectLst/>
      </dgm:spPr>
    </dgm:pt>
    <dgm:pt modelId="{EF681765-A5D6-47A5-8D03-ADE02237A7A2}" type="pres">
      <dgm:prSet presAssocID="{6066EB94-7EFC-4DC2-ACD0-4D950F79587C}" presName="L2TextContainer" presStyleLbl="revTx" presStyleIdx="18" presStyleCnt="20">
        <dgm:presLayoutVars>
          <dgm:bulletEnabled val="1"/>
        </dgm:presLayoutVars>
      </dgm:prSet>
      <dgm:spPr/>
    </dgm:pt>
    <dgm:pt modelId="{40228DAD-6701-4A60-BCD4-3BDEB5A99760}" type="pres">
      <dgm:prSet presAssocID="{6066EB94-7EFC-4DC2-ACD0-4D950F79587C}" presName="L1TextContainer" presStyleLbl="revTx" presStyleIdx="19" presStyleCnt="20">
        <dgm:presLayoutVars>
          <dgm:chMax val="1"/>
          <dgm:chPref val="1"/>
          <dgm:bulletEnabled val="1"/>
        </dgm:presLayoutVars>
      </dgm:prSet>
      <dgm:spPr/>
    </dgm:pt>
    <dgm:pt modelId="{122061E6-CD0A-4BBE-8933-91710B6DB801}" type="pres">
      <dgm:prSet presAssocID="{6066EB94-7EFC-4DC2-ACD0-4D950F79587C}" presName="ConnectLine" presStyleLbl="sibTrans1D1" presStyleIdx="9" presStyleCnt="10"/>
      <dgm:spPr>
        <a:noFill/>
        <a:ln w="12700" cap="flat" cmpd="sng" algn="ctr">
          <a:solidFill>
            <a:schemeClr val="accent2">
              <a:hueOff val="0"/>
              <a:satOff val="0"/>
              <a:lumOff val="0"/>
              <a:alphaOff val="0"/>
            </a:schemeClr>
          </a:solidFill>
          <a:prstDash val="dash"/>
        </a:ln>
        <a:effectLst/>
      </dgm:spPr>
    </dgm:pt>
    <dgm:pt modelId="{56197D58-A387-4F61-BD50-6E9BF7A56153}" type="pres">
      <dgm:prSet presAssocID="{6066EB94-7EFC-4DC2-ACD0-4D950F79587C}" presName="EmptyPlaceHolder" presStyleCnt="0"/>
      <dgm:spPr/>
    </dgm:pt>
  </dgm:ptLst>
  <dgm:cxnLst>
    <dgm:cxn modelId="{CBB49F07-E4A0-4C2C-9A85-D3933F7C87AD}" type="presOf" srcId="{6127D27E-DFEF-4418-BB27-CF35E93D5434}" destId="{514D1F3B-6F09-405A-8135-6A686749B576}" srcOrd="0" destOrd="0" presId="urn:microsoft.com/office/officeart/2017/3/layout/DropPinTimeline"/>
    <dgm:cxn modelId="{E3C88908-6392-4519-9E7B-03F381F727B8}" type="presOf" srcId="{6F5B7005-2570-4B8F-B7E3-4B41D7F1D50A}" destId="{0EC56713-F1C1-4A52-9B90-156EC783CCD2}" srcOrd="0" destOrd="0" presId="urn:microsoft.com/office/officeart/2017/3/layout/DropPinTimeline"/>
    <dgm:cxn modelId="{14243C17-90F4-4CDE-90FE-AF64B8BBCADF}" srcId="{6066EB94-7EFC-4DC2-ACD0-4D950F79587C}" destId="{E435B4CB-00B9-4445-8233-C16193AEAEA6}" srcOrd="1" destOrd="0" parTransId="{A578B5F1-FF31-414E-A37F-970EB2CBEE58}" sibTransId="{22036A6D-48FB-435C-97B5-1D411F88B359}"/>
    <dgm:cxn modelId="{5FCBE319-28ED-462D-A47E-023ED396F309}" type="presOf" srcId="{E435B4CB-00B9-4445-8233-C16193AEAEA6}" destId="{EF681765-A5D6-47A5-8D03-ADE02237A7A2}" srcOrd="0" destOrd="1" presId="urn:microsoft.com/office/officeart/2017/3/layout/DropPinTimeline"/>
    <dgm:cxn modelId="{61C3D127-69D4-4A45-87D3-2358900EE8FE}" srcId="{949811E9-2A0F-404C-92BE-ED87A74BDA0E}" destId="{CB587F8C-F6F1-4B2A-9FF3-FE263D56FE78}" srcOrd="6" destOrd="0" parTransId="{8A91C454-CB58-40AB-B453-555C52D3DD1B}" sibTransId="{293182FD-15D5-4C95-807F-9625FAE3CBDB}"/>
    <dgm:cxn modelId="{51060C29-3E29-4877-BE7C-A383494124B7}" type="presOf" srcId="{000E9CF7-09EE-4631-B38C-B52529CD93A9}" destId="{6D840BA3-6F3E-4412-B617-11D232043200}" srcOrd="0" destOrd="0" presId="urn:microsoft.com/office/officeart/2017/3/layout/DropPinTimeline"/>
    <dgm:cxn modelId="{E937C62F-2F08-435D-B163-F8923DD522F2}" srcId="{949811E9-2A0F-404C-92BE-ED87A74BDA0E}" destId="{CD52DF8A-7A2A-4F55-B90E-183499B2BA65}" srcOrd="0" destOrd="0" parTransId="{A2067B49-AD36-41BC-906E-E8706541AB1D}" sibTransId="{75B06636-2013-4012-BF41-937C8ACAF1CE}"/>
    <dgm:cxn modelId="{DD455132-97FA-4750-8E2C-117C3CDE5172}" srcId="{949811E9-2A0F-404C-92BE-ED87A74BDA0E}" destId="{000E9CF7-09EE-4631-B38C-B52529CD93A9}" srcOrd="1" destOrd="0" parTransId="{07ABF0E9-EABC-45F8-8809-BA5CE42FEB14}" sibTransId="{E88F72AF-A7B1-41A7-96B4-6F21478B9F43}"/>
    <dgm:cxn modelId="{5BA6B462-1DC3-467C-9468-D81525C8F256}" srcId="{000E9CF7-09EE-4631-B38C-B52529CD93A9}" destId="{24360B65-98E3-4F1E-8C81-B1FDD1C7563E}" srcOrd="0" destOrd="0" parTransId="{46EE4ADD-AAF9-4558-ABFE-FD534D06F7B0}" sibTransId="{8AC4880E-4CB2-416F-B719-AF3D718A3BE9}"/>
    <dgm:cxn modelId="{CF780066-2CD9-46A0-9269-25C9A44310DB}" srcId="{949811E9-2A0F-404C-92BE-ED87A74BDA0E}" destId="{803043DE-C1C3-4038-BB9C-68CA5CF15C08}" srcOrd="3" destOrd="0" parTransId="{FFC5A2B2-A1BB-4AA5-BD78-4099ACAAAD0D}" sibTransId="{C65F3DF2-83C9-4FE2-AC1A-EC6016AC2719}"/>
    <dgm:cxn modelId="{3A17464B-65E1-4927-ACF8-C4CBA4A121F3}" type="presOf" srcId="{AE205852-90DA-4810-8051-EB6B45A5CEB5}" destId="{61CEEA00-B311-4CD3-9B01-893A5E09FD6E}" srcOrd="0" destOrd="0" presId="urn:microsoft.com/office/officeart/2017/3/layout/DropPinTimeline"/>
    <dgm:cxn modelId="{D4BCAA6C-4F18-4670-9FFB-0D67222DD7A0}" srcId="{949811E9-2A0F-404C-92BE-ED87A74BDA0E}" destId="{544BB1EF-5414-4858-A01E-1FC6C6D870D0}" srcOrd="5" destOrd="0" parTransId="{79527B41-300E-4812-BC42-E8A5355E97A2}" sibTransId="{3CE2A833-0094-43B2-8B69-25B38E6DCC38}"/>
    <dgm:cxn modelId="{45F8F36C-D722-415B-B023-798D4FECD947}" type="presOf" srcId="{9F39C654-EBDF-4912-B31B-7AE79BDF3D67}" destId="{E358AB22-A5D9-4C0B-BB57-B99B189F189F}" srcOrd="0" destOrd="0" presId="urn:microsoft.com/office/officeart/2017/3/layout/DropPinTimeline"/>
    <dgm:cxn modelId="{2160E970-BD1D-4003-996A-416A8010D972}" type="presOf" srcId="{CB587F8C-F6F1-4B2A-9FF3-FE263D56FE78}" destId="{5F8278C0-7FF3-47F7-B87C-9309046C995F}" srcOrd="0" destOrd="0" presId="urn:microsoft.com/office/officeart/2017/3/layout/DropPinTimeline"/>
    <dgm:cxn modelId="{4AF89753-7EE3-4CA2-9501-123FF9DD9354}" type="presOf" srcId="{949811E9-2A0F-404C-92BE-ED87A74BDA0E}" destId="{788C5CD4-8F83-4240-A42F-84706850D688}" srcOrd="0" destOrd="0" presId="urn:microsoft.com/office/officeart/2017/3/layout/DropPinTimeline"/>
    <dgm:cxn modelId="{9E6DB877-AA3C-4341-9B80-4AF87BAA24E2}" srcId="{949811E9-2A0F-404C-92BE-ED87A74BDA0E}" destId="{AE205852-90DA-4810-8051-EB6B45A5CEB5}" srcOrd="2" destOrd="0" parTransId="{741830BF-4B83-489E-ADFC-6E457908F202}" sibTransId="{3550CAD8-8579-4975-A13E-27D0217EF542}"/>
    <dgm:cxn modelId="{1DB2BB7D-4F5F-4B0C-A854-5FD2F994B70D}" type="presOf" srcId="{CAB08D15-1D96-422A-AAD6-37C89BDBD71E}" destId="{29BBA8A5-07A1-45A7-BC54-B49994764BA2}" srcOrd="0" destOrd="0" presId="urn:microsoft.com/office/officeart/2017/3/layout/DropPinTimeline"/>
    <dgm:cxn modelId="{1874167E-D8C0-4891-978A-E7C024C6E69C}" srcId="{803043DE-C1C3-4038-BB9C-68CA5CF15C08}" destId="{CAB08D15-1D96-422A-AAD6-37C89BDBD71E}" srcOrd="0" destOrd="0" parTransId="{48BD8494-6F27-4C4D-B492-AA76B40B13E8}" sibTransId="{B38A25B8-F228-4CAC-8F66-5E6291487269}"/>
    <dgm:cxn modelId="{732D077F-A72B-401F-8669-16091BA8DF22}" type="presOf" srcId="{CFE0F40C-9846-434D-B880-BF1B9E33551D}" destId="{A0214BCE-ADBF-40D7-A171-9D9F8E7D314A}" srcOrd="0" destOrd="0" presId="urn:microsoft.com/office/officeart/2017/3/layout/DropPinTimeline"/>
    <dgm:cxn modelId="{97044584-F1E3-428D-A3F8-C6ABC4148D52}" srcId="{9F39C654-EBDF-4912-B31B-7AE79BDF3D67}" destId="{6127D27E-DFEF-4418-BB27-CF35E93D5434}" srcOrd="0" destOrd="0" parTransId="{A9B0CE6E-B28E-4DF2-ADEA-5DB6603ED2FA}" sibTransId="{726B46ED-BAA1-40EB-88A1-D73EB48A1CCD}"/>
    <dgm:cxn modelId="{6601D786-FAF4-4DEA-849F-C2BA0D82C8E5}" type="presOf" srcId="{C5F15018-26DE-4CA1-ACEE-189B7FB4EA9A}" destId="{BCAAE555-609B-4EAC-81A1-D6F7043ED396}" srcOrd="0" destOrd="0" presId="urn:microsoft.com/office/officeart/2017/3/layout/DropPinTimeline"/>
    <dgm:cxn modelId="{8B8E4187-025F-44EC-9C46-0737B756181D}" type="presOf" srcId="{60A886E8-FE4A-40B3-B753-3E154F33A3DF}" destId="{EF681765-A5D6-47A5-8D03-ADE02237A7A2}" srcOrd="0" destOrd="0" presId="urn:microsoft.com/office/officeart/2017/3/layout/DropPinTimeline"/>
    <dgm:cxn modelId="{2D93BB8B-9ED9-4894-B945-39F7DE8A2B5C}" type="presOf" srcId="{544BB1EF-5414-4858-A01E-1FC6C6D870D0}" destId="{F78420A8-299F-4D3E-A0E5-D6D9F1A6D24A}" srcOrd="0" destOrd="0" presId="urn:microsoft.com/office/officeart/2017/3/layout/DropPinTimeline"/>
    <dgm:cxn modelId="{D9209990-12BE-4A9C-A3C3-40EDF4E65FF4}" type="presOf" srcId="{6066EB94-7EFC-4DC2-ACD0-4D950F79587C}" destId="{40228DAD-6701-4A60-BCD4-3BDEB5A99760}" srcOrd="0" destOrd="0" presId="urn:microsoft.com/office/officeart/2017/3/layout/DropPinTimeline"/>
    <dgm:cxn modelId="{E6494191-F995-4BBE-8B55-7F7B69995B53}" srcId="{053E428D-121A-45C8-A152-FFB343E08FDA}" destId="{C6221F81-623B-4481-BC21-07C8D2C73772}" srcOrd="0" destOrd="0" parTransId="{3BAFC22F-2B80-407B-A2F2-FE5B98DCDEDA}" sibTransId="{90CA20DE-4D42-4686-BFD0-F46D78932792}"/>
    <dgm:cxn modelId="{8576A09A-9529-41C4-B67C-900C9FE408BD}" type="presOf" srcId="{24360B65-98E3-4F1E-8C81-B1FDD1C7563E}" destId="{0529F6CA-F0C8-41AC-8A1F-F94492F52C9B}" srcOrd="0" destOrd="0" presId="urn:microsoft.com/office/officeart/2017/3/layout/DropPinTimeline"/>
    <dgm:cxn modelId="{866E27A2-5739-4DA1-BA49-A2A8BC1E52B3}" type="presOf" srcId="{31231E8D-1860-47F1-B26C-C4653B3512A6}" destId="{A607FEBF-2F4B-4EB7-AEC5-0ECC5EBE9BB3}" srcOrd="0" destOrd="0" presId="urn:microsoft.com/office/officeart/2017/3/layout/DropPinTimeline"/>
    <dgm:cxn modelId="{7C2AC4AD-F69C-4CE9-A076-8CD96CFBAD28}" type="presOf" srcId="{CD52DF8A-7A2A-4F55-B90E-183499B2BA65}" destId="{E3507DC7-BF66-4863-A870-6516B021FB2D}" srcOrd="0" destOrd="0" presId="urn:microsoft.com/office/officeart/2017/3/layout/DropPinTimeline"/>
    <dgm:cxn modelId="{787E0CB7-1C75-4F6A-967B-A09FB4821B90}" srcId="{AE205852-90DA-4810-8051-EB6B45A5CEB5}" destId="{C5F15018-26DE-4CA1-ACEE-189B7FB4EA9A}" srcOrd="0" destOrd="0" parTransId="{A0E91908-369B-4BA5-9377-1ED39DB41FF9}" sibTransId="{CCF001FE-649A-4B91-BEFB-4AD2EF7E4DB2}"/>
    <dgm:cxn modelId="{7B1FEDBE-A430-4431-BF46-B7D5AE8502B4}" srcId="{949811E9-2A0F-404C-92BE-ED87A74BDA0E}" destId="{053E428D-121A-45C8-A152-FFB343E08FDA}" srcOrd="7" destOrd="0" parTransId="{E8BAB816-0783-43BC-8917-1C8C833A4B90}" sibTransId="{3D6713E0-65F5-4755-9EBD-76F35190D9C0}"/>
    <dgm:cxn modelId="{6CE815C5-4279-4FD9-BA84-09EC000F9F36}" type="presOf" srcId="{C6221F81-623B-4481-BC21-07C8D2C73772}" destId="{10FC98DD-F804-40FB-B142-27BC6DE92DAA}" srcOrd="0" destOrd="0" presId="urn:microsoft.com/office/officeart/2017/3/layout/DropPinTimeline"/>
    <dgm:cxn modelId="{DF40F8C7-2ADF-4428-93D9-70B85CB6C3F7}" srcId="{96E84DF9-E3F6-42E4-976D-A24C8B33DEA1}" destId="{8E8A4781-F681-4963-9207-7C23A83FD89C}" srcOrd="0" destOrd="0" parTransId="{2A64E9EF-A221-4855-83C4-2D8CF6973F93}" sibTransId="{36A92183-17F3-436F-A92A-7CF097F0BFEA}"/>
    <dgm:cxn modelId="{5E806FCB-C0B2-454A-968C-B918E872D393}" srcId="{949811E9-2A0F-404C-92BE-ED87A74BDA0E}" destId="{96E84DF9-E3F6-42E4-976D-A24C8B33DEA1}" srcOrd="4" destOrd="0" parTransId="{9B1CED87-049D-4B79-A826-A6E59C6E43F0}" sibTransId="{56EF9B2B-F0E2-4D1D-AD37-3457566DFF3F}"/>
    <dgm:cxn modelId="{29CF05CD-D0B4-40F9-9C34-B2988D3A140B}" type="presOf" srcId="{8E8A4781-F681-4963-9207-7C23A83FD89C}" destId="{71ACCB0C-8736-4C76-A4D1-B491BAA21D06}" srcOrd="0" destOrd="0" presId="urn:microsoft.com/office/officeart/2017/3/layout/DropPinTimeline"/>
    <dgm:cxn modelId="{1CB2F1D5-60F4-462B-965D-CB74300393B6}" srcId="{CD52DF8A-7A2A-4F55-B90E-183499B2BA65}" destId="{CFE0F40C-9846-434D-B880-BF1B9E33551D}" srcOrd="0" destOrd="0" parTransId="{251AC4CA-8972-4AE1-9E5D-15C1BD7946F7}" sibTransId="{8478BF93-0EAA-4AA3-8544-A38C9CF315BA}"/>
    <dgm:cxn modelId="{D49E9CE2-AB83-49B4-8361-78991F4DEB08}" srcId="{6066EB94-7EFC-4DC2-ACD0-4D950F79587C}" destId="{60A886E8-FE4A-40B3-B753-3E154F33A3DF}" srcOrd="0" destOrd="0" parTransId="{7B306988-8A87-4955-A9C2-01FE8E46B7D3}" sibTransId="{3103E47A-99DE-4EA8-AB1B-6053C43184B7}"/>
    <dgm:cxn modelId="{D129A7E3-FC0C-4F9A-BF7B-AE5AE3A3B102}" srcId="{949811E9-2A0F-404C-92BE-ED87A74BDA0E}" destId="{9F39C654-EBDF-4912-B31B-7AE79BDF3D67}" srcOrd="8" destOrd="0" parTransId="{607794E3-49FF-443C-A8F1-9260002CFADD}" sibTransId="{3E2E1AB1-4932-4200-AFC0-FA8155F692D9}"/>
    <dgm:cxn modelId="{6B667AE5-85A4-495B-9936-6558DC839573}" srcId="{CB587F8C-F6F1-4B2A-9FF3-FE263D56FE78}" destId="{6F5B7005-2570-4B8F-B7E3-4B41D7F1D50A}" srcOrd="0" destOrd="0" parTransId="{2B02CDE8-1149-4525-83DC-BBC71F2766EF}" sibTransId="{D3348A52-B3CC-4497-888F-79453A2FB9F7}"/>
    <dgm:cxn modelId="{C551B8F1-EE6C-46B4-B893-63D14135D2E5}" type="presOf" srcId="{803043DE-C1C3-4038-BB9C-68CA5CF15C08}" destId="{DBA738E1-0A3F-4671-A3AE-7100C602C512}" srcOrd="0" destOrd="0" presId="urn:microsoft.com/office/officeart/2017/3/layout/DropPinTimeline"/>
    <dgm:cxn modelId="{983679F2-07E8-4E14-93BC-D0C68A349D46}" srcId="{949811E9-2A0F-404C-92BE-ED87A74BDA0E}" destId="{6066EB94-7EFC-4DC2-ACD0-4D950F79587C}" srcOrd="9" destOrd="0" parTransId="{9629DD9F-55DF-4287-B8F5-102434DE2071}" sibTransId="{B287DAEB-46FF-4DA5-87D5-80E3F772066B}"/>
    <dgm:cxn modelId="{DE45D0F7-02E9-4419-B512-532FAF702407}" srcId="{544BB1EF-5414-4858-A01E-1FC6C6D870D0}" destId="{31231E8D-1860-47F1-B26C-C4653B3512A6}" srcOrd="0" destOrd="0" parTransId="{5786F8B5-A061-425D-B6BF-3E390058B6DE}" sibTransId="{491005D2-BF96-47AE-880F-D84F21362B57}"/>
    <dgm:cxn modelId="{319BD5F9-D152-4105-961F-050BD9D44C91}" type="presOf" srcId="{96E84DF9-E3F6-42E4-976D-A24C8B33DEA1}" destId="{D2A86D13-04CE-481F-A6DA-BA2D2C728232}" srcOrd="0" destOrd="0" presId="urn:microsoft.com/office/officeart/2017/3/layout/DropPinTimeline"/>
    <dgm:cxn modelId="{C785B1FE-0320-4667-95ED-CCA9DC3CD317}" type="presOf" srcId="{053E428D-121A-45C8-A152-FFB343E08FDA}" destId="{171A52F2-4F0D-45EA-9554-D2D098D66F27}" srcOrd="0" destOrd="0" presId="urn:microsoft.com/office/officeart/2017/3/layout/DropPinTimeline"/>
    <dgm:cxn modelId="{34603647-2D43-41D9-868C-7AC8B2563C44}" type="presParOf" srcId="{788C5CD4-8F83-4240-A42F-84706850D688}" destId="{A9AE5D65-D7B5-4841-9072-0C93D0A88247}" srcOrd="0" destOrd="0" presId="urn:microsoft.com/office/officeart/2017/3/layout/DropPinTimeline"/>
    <dgm:cxn modelId="{E4358598-79D6-40FC-A730-3146ECBAAD97}" type="presParOf" srcId="{788C5CD4-8F83-4240-A42F-84706850D688}" destId="{F42CA0AF-3CEB-4697-B42A-75CD9089D325}" srcOrd="1" destOrd="0" presId="urn:microsoft.com/office/officeart/2017/3/layout/DropPinTimeline"/>
    <dgm:cxn modelId="{50969920-EE6E-4A1D-8EC0-21FA0009E414}" type="presParOf" srcId="{F42CA0AF-3CEB-4697-B42A-75CD9089D325}" destId="{0EFFABB0-EF26-44EA-AF9F-870D09D55D13}" srcOrd="0" destOrd="0" presId="urn:microsoft.com/office/officeart/2017/3/layout/DropPinTimeline"/>
    <dgm:cxn modelId="{3E827E73-19D9-42DA-94B8-D11C5256931B}" type="presParOf" srcId="{0EFFABB0-EF26-44EA-AF9F-870D09D55D13}" destId="{20BC4390-657E-4C61-AC22-7BE8D092D11A}" srcOrd="0" destOrd="0" presId="urn:microsoft.com/office/officeart/2017/3/layout/DropPinTimeline"/>
    <dgm:cxn modelId="{67D2C201-AA2E-4DEB-950D-C7399E69CAF5}" type="presParOf" srcId="{0EFFABB0-EF26-44EA-AF9F-870D09D55D13}" destId="{58737D19-1012-4BBA-8D7A-AFDA09E5B50D}" srcOrd="1" destOrd="0" presId="urn:microsoft.com/office/officeart/2017/3/layout/DropPinTimeline"/>
    <dgm:cxn modelId="{2FE3778B-A678-4724-9597-D9CE9BD8C191}" type="presParOf" srcId="{58737D19-1012-4BBA-8D7A-AFDA09E5B50D}" destId="{0D5FFEE3-21F2-4224-8D64-E3A38B0060B2}" srcOrd="0" destOrd="0" presId="urn:microsoft.com/office/officeart/2017/3/layout/DropPinTimeline"/>
    <dgm:cxn modelId="{F40BDC44-6120-4ED8-AE1D-3F70ACCC3F9C}" type="presParOf" srcId="{58737D19-1012-4BBA-8D7A-AFDA09E5B50D}" destId="{01DA2970-FED7-48E5-A0D5-6E23CCE4C317}" srcOrd="1" destOrd="0" presId="urn:microsoft.com/office/officeart/2017/3/layout/DropPinTimeline"/>
    <dgm:cxn modelId="{8233DB43-D329-4E1D-8BDC-F5CA45E02F94}" type="presParOf" srcId="{0EFFABB0-EF26-44EA-AF9F-870D09D55D13}" destId="{A0214BCE-ADBF-40D7-A171-9D9F8E7D314A}" srcOrd="2" destOrd="0" presId="urn:microsoft.com/office/officeart/2017/3/layout/DropPinTimeline"/>
    <dgm:cxn modelId="{4A8B76AB-ABE8-4471-AC21-72C0ABFD1F8D}" type="presParOf" srcId="{0EFFABB0-EF26-44EA-AF9F-870D09D55D13}" destId="{E3507DC7-BF66-4863-A870-6516B021FB2D}" srcOrd="3" destOrd="0" presId="urn:microsoft.com/office/officeart/2017/3/layout/DropPinTimeline"/>
    <dgm:cxn modelId="{E741A429-BC92-458B-AD02-092335FB1619}" type="presParOf" srcId="{0EFFABB0-EF26-44EA-AF9F-870D09D55D13}" destId="{687149D8-0E12-44DD-BC6E-7D26515C5A98}" srcOrd="4" destOrd="0" presId="urn:microsoft.com/office/officeart/2017/3/layout/DropPinTimeline"/>
    <dgm:cxn modelId="{6E488A73-6484-42F4-854B-48082B814DA9}" type="presParOf" srcId="{0EFFABB0-EF26-44EA-AF9F-870D09D55D13}" destId="{1781F86F-55EF-4AAB-A1BF-7BD9438A7E17}" srcOrd="5" destOrd="0" presId="urn:microsoft.com/office/officeart/2017/3/layout/DropPinTimeline"/>
    <dgm:cxn modelId="{674AD8CC-17B4-4C6B-A70F-64610A571892}" type="presParOf" srcId="{F42CA0AF-3CEB-4697-B42A-75CD9089D325}" destId="{C4493DBF-2091-4260-963D-5AF8679880AA}" srcOrd="1" destOrd="0" presId="urn:microsoft.com/office/officeart/2017/3/layout/DropPinTimeline"/>
    <dgm:cxn modelId="{193DC992-68DD-4594-A0D1-A7BAC328C5FA}" type="presParOf" srcId="{F42CA0AF-3CEB-4697-B42A-75CD9089D325}" destId="{036D7CCF-F88F-4C5A-A004-F64E975CF02F}" srcOrd="2" destOrd="0" presId="urn:microsoft.com/office/officeart/2017/3/layout/DropPinTimeline"/>
    <dgm:cxn modelId="{8C70F1AA-4939-49D5-B7A7-32DD490373BC}" type="presParOf" srcId="{036D7CCF-F88F-4C5A-A004-F64E975CF02F}" destId="{C4AC591A-4936-4018-8409-C0A2BC1A737F}" srcOrd="0" destOrd="0" presId="urn:microsoft.com/office/officeart/2017/3/layout/DropPinTimeline"/>
    <dgm:cxn modelId="{24CC7CCA-1C71-4C7B-9F24-2A475F221459}" type="presParOf" srcId="{036D7CCF-F88F-4C5A-A004-F64E975CF02F}" destId="{F28288BB-3F2A-4D65-B5AE-19AF82025AA1}" srcOrd="1" destOrd="0" presId="urn:microsoft.com/office/officeart/2017/3/layout/DropPinTimeline"/>
    <dgm:cxn modelId="{07767083-8C19-4B76-BEDC-B6D45BE4E796}" type="presParOf" srcId="{F28288BB-3F2A-4D65-B5AE-19AF82025AA1}" destId="{24771A23-2CF8-44A4-8EC5-3E455F6C6D49}" srcOrd="0" destOrd="0" presId="urn:microsoft.com/office/officeart/2017/3/layout/DropPinTimeline"/>
    <dgm:cxn modelId="{09E5BE45-EEEF-4956-9E65-781DCB533A7A}" type="presParOf" srcId="{F28288BB-3F2A-4D65-B5AE-19AF82025AA1}" destId="{5DEC7EEA-371C-4995-9F34-A22DE734BC8F}" srcOrd="1" destOrd="0" presId="urn:microsoft.com/office/officeart/2017/3/layout/DropPinTimeline"/>
    <dgm:cxn modelId="{F80BCE82-D462-4627-B637-07216097445C}" type="presParOf" srcId="{036D7CCF-F88F-4C5A-A004-F64E975CF02F}" destId="{0529F6CA-F0C8-41AC-8A1F-F94492F52C9B}" srcOrd="2" destOrd="0" presId="urn:microsoft.com/office/officeart/2017/3/layout/DropPinTimeline"/>
    <dgm:cxn modelId="{D0F41668-AE98-441A-A32B-7B7AC2AEF506}" type="presParOf" srcId="{036D7CCF-F88F-4C5A-A004-F64E975CF02F}" destId="{6D840BA3-6F3E-4412-B617-11D232043200}" srcOrd="3" destOrd="0" presId="urn:microsoft.com/office/officeart/2017/3/layout/DropPinTimeline"/>
    <dgm:cxn modelId="{C3157EDC-6A40-4300-A24B-5C3EB488AFDB}" type="presParOf" srcId="{036D7CCF-F88F-4C5A-A004-F64E975CF02F}" destId="{B0930BC1-7D2E-4D39-896C-B6E848409566}" srcOrd="4" destOrd="0" presId="urn:microsoft.com/office/officeart/2017/3/layout/DropPinTimeline"/>
    <dgm:cxn modelId="{5B36AF93-FFFA-4F09-88EC-3B62FEE61CD4}" type="presParOf" srcId="{036D7CCF-F88F-4C5A-A004-F64E975CF02F}" destId="{2B257FEE-468F-4896-A30A-CEE382C6B4E7}" srcOrd="5" destOrd="0" presId="urn:microsoft.com/office/officeart/2017/3/layout/DropPinTimeline"/>
    <dgm:cxn modelId="{D515BA56-1602-4331-8CE0-B0345E9C5297}" type="presParOf" srcId="{F42CA0AF-3CEB-4697-B42A-75CD9089D325}" destId="{0A484FF6-1508-4F7C-8963-E89150C11837}" srcOrd="3" destOrd="0" presId="urn:microsoft.com/office/officeart/2017/3/layout/DropPinTimeline"/>
    <dgm:cxn modelId="{FF124B62-27B8-4F57-BD39-251895D408CC}" type="presParOf" srcId="{F42CA0AF-3CEB-4697-B42A-75CD9089D325}" destId="{02586D73-DF68-4CDE-B58A-F213A826E1AD}" srcOrd="4" destOrd="0" presId="urn:microsoft.com/office/officeart/2017/3/layout/DropPinTimeline"/>
    <dgm:cxn modelId="{547CE82A-EA55-4779-B33C-71A4558D347C}" type="presParOf" srcId="{02586D73-DF68-4CDE-B58A-F213A826E1AD}" destId="{D09969F4-02D0-4E24-8F84-AFC7B3D176D9}" srcOrd="0" destOrd="0" presId="urn:microsoft.com/office/officeart/2017/3/layout/DropPinTimeline"/>
    <dgm:cxn modelId="{D1B64DFE-E0BA-461B-A716-F57686EAEDEE}" type="presParOf" srcId="{02586D73-DF68-4CDE-B58A-F213A826E1AD}" destId="{BE4057BD-12F8-4B1D-B5FF-7D0E939E92F5}" srcOrd="1" destOrd="0" presId="urn:microsoft.com/office/officeart/2017/3/layout/DropPinTimeline"/>
    <dgm:cxn modelId="{9DF48E87-DC38-4764-8878-31505203038A}" type="presParOf" srcId="{BE4057BD-12F8-4B1D-B5FF-7D0E939E92F5}" destId="{C7C68994-E2C0-4C01-8906-A14F495551B9}" srcOrd="0" destOrd="0" presId="urn:microsoft.com/office/officeart/2017/3/layout/DropPinTimeline"/>
    <dgm:cxn modelId="{217AC47D-0749-4BC4-9884-B91DAEAD7F4E}" type="presParOf" srcId="{BE4057BD-12F8-4B1D-B5FF-7D0E939E92F5}" destId="{8A9A6839-5C64-4D39-8FA1-77BB63DD6AC2}" srcOrd="1" destOrd="0" presId="urn:microsoft.com/office/officeart/2017/3/layout/DropPinTimeline"/>
    <dgm:cxn modelId="{16E88897-F880-4832-AC9D-0E92593EDE0D}" type="presParOf" srcId="{02586D73-DF68-4CDE-B58A-F213A826E1AD}" destId="{BCAAE555-609B-4EAC-81A1-D6F7043ED396}" srcOrd="2" destOrd="0" presId="urn:microsoft.com/office/officeart/2017/3/layout/DropPinTimeline"/>
    <dgm:cxn modelId="{DEC03AE4-2A4B-4348-BB61-82A35FCC86E2}" type="presParOf" srcId="{02586D73-DF68-4CDE-B58A-F213A826E1AD}" destId="{61CEEA00-B311-4CD3-9B01-893A5E09FD6E}" srcOrd="3" destOrd="0" presId="urn:microsoft.com/office/officeart/2017/3/layout/DropPinTimeline"/>
    <dgm:cxn modelId="{3A44C00E-B5F7-4DAD-B6B8-33BCFA7AEF7F}" type="presParOf" srcId="{02586D73-DF68-4CDE-B58A-F213A826E1AD}" destId="{5ACBD1FB-5E66-44E0-8119-18AA7C435F99}" srcOrd="4" destOrd="0" presId="urn:microsoft.com/office/officeart/2017/3/layout/DropPinTimeline"/>
    <dgm:cxn modelId="{94938C97-59EB-43EF-9093-BFB3F0AB5471}" type="presParOf" srcId="{02586D73-DF68-4CDE-B58A-F213A826E1AD}" destId="{61FD44EC-7C55-49D8-92DD-6F4947429B64}" srcOrd="5" destOrd="0" presId="urn:microsoft.com/office/officeart/2017/3/layout/DropPinTimeline"/>
    <dgm:cxn modelId="{76439D0C-7EE4-4CBB-A1B8-A252D941B3A4}" type="presParOf" srcId="{F42CA0AF-3CEB-4697-B42A-75CD9089D325}" destId="{F6E1BACD-16EA-4B2D-8329-4A547B505577}" srcOrd="5" destOrd="0" presId="urn:microsoft.com/office/officeart/2017/3/layout/DropPinTimeline"/>
    <dgm:cxn modelId="{DADB8BF5-0991-4FD9-8EE8-F0B4F3BE6F0B}" type="presParOf" srcId="{F42CA0AF-3CEB-4697-B42A-75CD9089D325}" destId="{5C878F26-39B7-410C-BC33-AEC9BAA37BBB}" srcOrd="6" destOrd="0" presId="urn:microsoft.com/office/officeart/2017/3/layout/DropPinTimeline"/>
    <dgm:cxn modelId="{E208D729-D4CF-41C3-94DC-B321E663356E}" type="presParOf" srcId="{5C878F26-39B7-410C-BC33-AEC9BAA37BBB}" destId="{BAB73B9B-8581-4F52-9190-FCE34F4BAC76}" srcOrd="0" destOrd="0" presId="urn:microsoft.com/office/officeart/2017/3/layout/DropPinTimeline"/>
    <dgm:cxn modelId="{3C8A01D9-E542-4A20-A86B-DC290116B06D}" type="presParOf" srcId="{5C878F26-39B7-410C-BC33-AEC9BAA37BBB}" destId="{7506EDC8-FF5C-47D2-9BAC-365F4D704A66}" srcOrd="1" destOrd="0" presId="urn:microsoft.com/office/officeart/2017/3/layout/DropPinTimeline"/>
    <dgm:cxn modelId="{CE0E145A-2A23-4FE5-B3F9-AE03F1E62FE7}" type="presParOf" srcId="{7506EDC8-FF5C-47D2-9BAC-365F4D704A66}" destId="{016FB358-C363-4496-BFDC-BAEA7401FC20}" srcOrd="0" destOrd="0" presId="urn:microsoft.com/office/officeart/2017/3/layout/DropPinTimeline"/>
    <dgm:cxn modelId="{F60A3DEC-6086-4031-9B37-ADBAFCC66B35}" type="presParOf" srcId="{7506EDC8-FF5C-47D2-9BAC-365F4D704A66}" destId="{A3054524-21EF-4697-A733-651677988B76}" srcOrd="1" destOrd="0" presId="urn:microsoft.com/office/officeart/2017/3/layout/DropPinTimeline"/>
    <dgm:cxn modelId="{78A3616B-1B70-4B1C-B6E2-307147AC7DB1}" type="presParOf" srcId="{5C878F26-39B7-410C-BC33-AEC9BAA37BBB}" destId="{29BBA8A5-07A1-45A7-BC54-B49994764BA2}" srcOrd="2" destOrd="0" presId="urn:microsoft.com/office/officeart/2017/3/layout/DropPinTimeline"/>
    <dgm:cxn modelId="{5A48828E-4594-4C54-AACF-22A7350A8DCE}" type="presParOf" srcId="{5C878F26-39B7-410C-BC33-AEC9BAA37BBB}" destId="{DBA738E1-0A3F-4671-A3AE-7100C602C512}" srcOrd="3" destOrd="0" presId="urn:microsoft.com/office/officeart/2017/3/layout/DropPinTimeline"/>
    <dgm:cxn modelId="{C4BC613D-C8EE-415F-BAC0-83A3189778D4}" type="presParOf" srcId="{5C878F26-39B7-410C-BC33-AEC9BAA37BBB}" destId="{30B0D726-4912-43F9-A1AE-1733417C4979}" srcOrd="4" destOrd="0" presId="urn:microsoft.com/office/officeart/2017/3/layout/DropPinTimeline"/>
    <dgm:cxn modelId="{20C42316-B818-4457-98DD-87EB428234B3}" type="presParOf" srcId="{5C878F26-39B7-410C-BC33-AEC9BAA37BBB}" destId="{2C1C9DB2-14B0-4422-929E-BC5175891851}" srcOrd="5" destOrd="0" presId="urn:microsoft.com/office/officeart/2017/3/layout/DropPinTimeline"/>
    <dgm:cxn modelId="{40D813BB-B318-48EF-95C5-523AF99CF7F6}" type="presParOf" srcId="{F42CA0AF-3CEB-4697-B42A-75CD9089D325}" destId="{896F22D2-FE4B-4FCE-A9F1-EC341B4340B1}" srcOrd="7" destOrd="0" presId="urn:microsoft.com/office/officeart/2017/3/layout/DropPinTimeline"/>
    <dgm:cxn modelId="{377407F8-8709-465E-9D94-BDCA6696339B}" type="presParOf" srcId="{F42CA0AF-3CEB-4697-B42A-75CD9089D325}" destId="{E9B51A93-6961-421B-A176-DE314C074EEE}" srcOrd="8" destOrd="0" presId="urn:microsoft.com/office/officeart/2017/3/layout/DropPinTimeline"/>
    <dgm:cxn modelId="{04ED52A2-D38B-4926-B40C-D04F85818284}" type="presParOf" srcId="{E9B51A93-6961-421B-A176-DE314C074EEE}" destId="{C04ECEF5-9B0E-406F-81AB-93A1AB1EFC97}" srcOrd="0" destOrd="0" presId="urn:microsoft.com/office/officeart/2017/3/layout/DropPinTimeline"/>
    <dgm:cxn modelId="{18F9316F-D5BF-4208-B01F-70C9508C6BF5}" type="presParOf" srcId="{E9B51A93-6961-421B-A176-DE314C074EEE}" destId="{33C9C12C-5872-4BDC-AA8A-48C8935E411E}" srcOrd="1" destOrd="0" presId="urn:microsoft.com/office/officeart/2017/3/layout/DropPinTimeline"/>
    <dgm:cxn modelId="{7BB7D5DB-81D6-4508-AB12-E6555773E7A1}" type="presParOf" srcId="{33C9C12C-5872-4BDC-AA8A-48C8935E411E}" destId="{BED06FE5-CD2A-4DF9-8CA2-341036D4127C}" srcOrd="0" destOrd="0" presId="urn:microsoft.com/office/officeart/2017/3/layout/DropPinTimeline"/>
    <dgm:cxn modelId="{75CFEBB3-2551-4223-B448-4FC1B3DA0FB8}" type="presParOf" srcId="{33C9C12C-5872-4BDC-AA8A-48C8935E411E}" destId="{F4ACA0AE-3DE8-4346-82A0-3E884FE6E8A5}" srcOrd="1" destOrd="0" presId="urn:microsoft.com/office/officeart/2017/3/layout/DropPinTimeline"/>
    <dgm:cxn modelId="{A91BE52C-0FAD-4E0E-B2A0-C0BB2BB58F21}" type="presParOf" srcId="{E9B51A93-6961-421B-A176-DE314C074EEE}" destId="{71ACCB0C-8736-4C76-A4D1-B491BAA21D06}" srcOrd="2" destOrd="0" presId="urn:microsoft.com/office/officeart/2017/3/layout/DropPinTimeline"/>
    <dgm:cxn modelId="{7C9074EA-A1CD-473A-B616-2B733C48B688}" type="presParOf" srcId="{E9B51A93-6961-421B-A176-DE314C074EEE}" destId="{D2A86D13-04CE-481F-A6DA-BA2D2C728232}" srcOrd="3" destOrd="0" presId="urn:microsoft.com/office/officeart/2017/3/layout/DropPinTimeline"/>
    <dgm:cxn modelId="{DF596452-7004-4022-9FCF-C49A0213CA38}" type="presParOf" srcId="{E9B51A93-6961-421B-A176-DE314C074EEE}" destId="{3094E136-C0BC-48C3-8D7C-B58A14261D42}" srcOrd="4" destOrd="0" presId="urn:microsoft.com/office/officeart/2017/3/layout/DropPinTimeline"/>
    <dgm:cxn modelId="{615921C4-7870-4572-82CC-DD46F2717429}" type="presParOf" srcId="{E9B51A93-6961-421B-A176-DE314C074EEE}" destId="{AA1F08B3-B84A-4DD7-8A88-86E8D9438A19}" srcOrd="5" destOrd="0" presId="urn:microsoft.com/office/officeart/2017/3/layout/DropPinTimeline"/>
    <dgm:cxn modelId="{34EDC055-FD2D-4AB2-8C02-95D887800AC6}" type="presParOf" srcId="{F42CA0AF-3CEB-4697-B42A-75CD9089D325}" destId="{8A19A255-B9A5-4D2F-8424-1A308042B219}" srcOrd="9" destOrd="0" presId="urn:microsoft.com/office/officeart/2017/3/layout/DropPinTimeline"/>
    <dgm:cxn modelId="{CDE06449-0753-4952-A2E4-6B971ADBA110}" type="presParOf" srcId="{F42CA0AF-3CEB-4697-B42A-75CD9089D325}" destId="{71C92D5C-F807-491A-A7EC-0F54454E2AB3}" srcOrd="10" destOrd="0" presId="urn:microsoft.com/office/officeart/2017/3/layout/DropPinTimeline"/>
    <dgm:cxn modelId="{7DCCE840-F5AA-4C5E-B04A-45C900440D58}" type="presParOf" srcId="{71C92D5C-F807-491A-A7EC-0F54454E2AB3}" destId="{AC10EC62-85F6-4516-95FC-6691E8E5E9E0}" srcOrd="0" destOrd="0" presId="urn:microsoft.com/office/officeart/2017/3/layout/DropPinTimeline"/>
    <dgm:cxn modelId="{69244288-CC01-431C-9483-0AE1E08DB658}" type="presParOf" srcId="{71C92D5C-F807-491A-A7EC-0F54454E2AB3}" destId="{7F196947-5F69-4850-88E2-4BF2C07B090B}" srcOrd="1" destOrd="0" presId="urn:microsoft.com/office/officeart/2017/3/layout/DropPinTimeline"/>
    <dgm:cxn modelId="{AD870812-E310-4637-9688-D4B72876376F}" type="presParOf" srcId="{7F196947-5F69-4850-88E2-4BF2C07B090B}" destId="{3F6A0EB8-61F8-47FF-B9F5-D253A872D518}" srcOrd="0" destOrd="0" presId="urn:microsoft.com/office/officeart/2017/3/layout/DropPinTimeline"/>
    <dgm:cxn modelId="{833117BC-152C-49E8-8D6C-6C55E766D819}" type="presParOf" srcId="{7F196947-5F69-4850-88E2-4BF2C07B090B}" destId="{D265E501-BF70-41BC-AD63-626C93807789}" srcOrd="1" destOrd="0" presId="urn:microsoft.com/office/officeart/2017/3/layout/DropPinTimeline"/>
    <dgm:cxn modelId="{3CC30178-D9FE-4FE2-AA17-2CB927CCFFF8}" type="presParOf" srcId="{71C92D5C-F807-491A-A7EC-0F54454E2AB3}" destId="{A607FEBF-2F4B-4EB7-AEC5-0ECC5EBE9BB3}" srcOrd="2" destOrd="0" presId="urn:microsoft.com/office/officeart/2017/3/layout/DropPinTimeline"/>
    <dgm:cxn modelId="{EC2C3A37-98DE-4711-BAC5-3C8BD7F8C292}" type="presParOf" srcId="{71C92D5C-F807-491A-A7EC-0F54454E2AB3}" destId="{F78420A8-299F-4D3E-A0E5-D6D9F1A6D24A}" srcOrd="3" destOrd="0" presId="urn:microsoft.com/office/officeart/2017/3/layout/DropPinTimeline"/>
    <dgm:cxn modelId="{AF07F967-E545-4702-8585-9EFE88881303}" type="presParOf" srcId="{71C92D5C-F807-491A-A7EC-0F54454E2AB3}" destId="{D5089989-13FA-4B5D-BAA3-FDA55DA1D2CA}" srcOrd="4" destOrd="0" presId="urn:microsoft.com/office/officeart/2017/3/layout/DropPinTimeline"/>
    <dgm:cxn modelId="{F199A5A9-B6B5-4FE8-8312-E01F44B42279}" type="presParOf" srcId="{71C92D5C-F807-491A-A7EC-0F54454E2AB3}" destId="{97FF3BDB-E1F9-4411-9F47-07D652553925}" srcOrd="5" destOrd="0" presId="urn:microsoft.com/office/officeart/2017/3/layout/DropPinTimeline"/>
    <dgm:cxn modelId="{FB1EA2ED-6EB1-48D7-8FBC-7D420B611C93}" type="presParOf" srcId="{F42CA0AF-3CEB-4697-B42A-75CD9089D325}" destId="{6F0D8036-282A-457F-951E-995C6DB7C371}" srcOrd="11" destOrd="0" presId="urn:microsoft.com/office/officeart/2017/3/layout/DropPinTimeline"/>
    <dgm:cxn modelId="{306CA1BF-AF6B-4586-BD15-AECB7FCB7F95}" type="presParOf" srcId="{F42CA0AF-3CEB-4697-B42A-75CD9089D325}" destId="{6223C64D-6874-48DE-B5B4-BD283E941EF2}" srcOrd="12" destOrd="0" presId="urn:microsoft.com/office/officeart/2017/3/layout/DropPinTimeline"/>
    <dgm:cxn modelId="{55A009EC-3E99-4EB6-BD82-ADC78D888A80}" type="presParOf" srcId="{6223C64D-6874-48DE-B5B4-BD283E941EF2}" destId="{20C0A437-A11E-4790-949C-FC06F37F2775}" srcOrd="0" destOrd="0" presId="urn:microsoft.com/office/officeart/2017/3/layout/DropPinTimeline"/>
    <dgm:cxn modelId="{9AE068AD-A30D-478E-BE62-B1AE434305C9}" type="presParOf" srcId="{6223C64D-6874-48DE-B5B4-BD283E941EF2}" destId="{23AF35CA-BCE1-44DA-9D86-C58566A2FA6F}" srcOrd="1" destOrd="0" presId="urn:microsoft.com/office/officeart/2017/3/layout/DropPinTimeline"/>
    <dgm:cxn modelId="{F8BA42CE-8C43-4DAB-B936-B216DB9C879F}" type="presParOf" srcId="{23AF35CA-BCE1-44DA-9D86-C58566A2FA6F}" destId="{13984269-4A30-40FF-8975-79CABCAAB055}" srcOrd="0" destOrd="0" presId="urn:microsoft.com/office/officeart/2017/3/layout/DropPinTimeline"/>
    <dgm:cxn modelId="{4AE8DA3F-0DA7-45EB-BB30-538AB839DD1F}" type="presParOf" srcId="{23AF35CA-BCE1-44DA-9D86-C58566A2FA6F}" destId="{6793E0FB-9548-4421-B259-61757A71CB73}" srcOrd="1" destOrd="0" presId="urn:microsoft.com/office/officeart/2017/3/layout/DropPinTimeline"/>
    <dgm:cxn modelId="{FDC5BF4F-64E9-4696-B4DD-EF1FF13BB2DE}" type="presParOf" srcId="{6223C64D-6874-48DE-B5B4-BD283E941EF2}" destId="{0EC56713-F1C1-4A52-9B90-156EC783CCD2}" srcOrd="2" destOrd="0" presId="urn:microsoft.com/office/officeart/2017/3/layout/DropPinTimeline"/>
    <dgm:cxn modelId="{56C532ED-ACDD-4D0D-BFA4-3992D8171981}" type="presParOf" srcId="{6223C64D-6874-48DE-B5B4-BD283E941EF2}" destId="{5F8278C0-7FF3-47F7-B87C-9309046C995F}" srcOrd="3" destOrd="0" presId="urn:microsoft.com/office/officeart/2017/3/layout/DropPinTimeline"/>
    <dgm:cxn modelId="{6AE36AF5-0E56-4780-A84D-865524DA2894}" type="presParOf" srcId="{6223C64D-6874-48DE-B5B4-BD283E941EF2}" destId="{813D2901-A6B1-4C57-81C0-A008DFEE6E21}" srcOrd="4" destOrd="0" presId="urn:microsoft.com/office/officeart/2017/3/layout/DropPinTimeline"/>
    <dgm:cxn modelId="{F6C0084A-EE6F-419B-A7C7-A05119A3EE32}" type="presParOf" srcId="{6223C64D-6874-48DE-B5B4-BD283E941EF2}" destId="{2EFD75A9-01DA-42EE-A294-89A8F123D946}" srcOrd="5" destOrd="0" presId="urn:microsoft.com/office/officeart/2017/3/layout/DropPinTimeline"/>
    <dgm:cxn modelId="{95EEFEB4-36D4-4078-9D7C-EFE70FB951C8}" type="presParOf" srcId="{F42CA0AF-3CEB-4697-B42A-75CD9089D325}" destId="{E110AF5D-EC41-41C2-8B95-72F4E78E0EA3}" srcOrd="13" destOrd="0" presId="urn:microsoft.com/office/officeart/2017/3/layout/DropPinTimeline"/>
    <dgm:cxn modelId="{DED98559-4F1D-49DD-B615-19B74DE3C686}" type="presParOf" srcId="{F42CA0AF-3CEB-4697-B42A-75CD9089D325}" destId="{E24F2C9A-8756-4C63-9ACD-AC46D3402619}" srcOrd="14" destOrd="0" presId="urn:microsoft.com/office/officeart/2017/3/layout/DropPinTimeline"/>
    <dgm:cxn modelId="{C64250A0-9903-4B7B-ADE6-D07DC64E8DA4}" type="presParOf" srcId="{E24F2C9A-8756-4C63-9ACD-AC46D3402619}" destId="{E2984DF9-E2AF-4598-B9C3-6C184FB82837}" srcOrd="0" destOrd="0" presId="urn:microsoft.com/office/officeart/2017/3/layout/DropPinTimeline"/>
    <dgm:cxn modelId="{E864CE01-C3F2-4160-9E71-74DD5E9C5CC7}" type="presParOf" srcId="{E24F2C9A-8756-4C63-9ACD-AC46D3402619}" destId="{99BB3DD2-6F0F-4446-ABE1-A1DD907877FD}" srcOrd="1" destOrd="0" presId="urn:microsoft.com/office/officeart/2017/3/layout/DropPinTimeline"/>
    <dgm:cxn modelId="{893DEB21-F4B7-4901-B860-8F7B5B232C9E}" type="presParOf" srcId="{99BB3DD2-6F0F-4446-ABE1-A1DD907877FD}" destId="{CD202D85-C69B-4E20-85FF-BD571C7EE797}" srcOrd="0" destOrd="0" presId="urn:microsoft.com/office/officeart/2017/3/layout/DropPinTimeline"/>
    <dgm:cxn modelId="{D0A3C242-2D6A-42CC-8866-6AD9E7A96795}" type="presParOf" srcId="{99BB3DD2-6F0F-4446-ABE1-A1DD907877FD}" destId="{835D2D97-45B3-4857-AE44-25C75A6E4BF6}" srcOrd="1" destOrd="0" presId="urn:microsoft.com/office/officeart/2017/3/layout/DropPinTimeline"/>
    <dgm:cxn modelId="{8E08EEC6-9BC2-4708-A916-AC856556D815}" type="presParOf" srcId="{E24F2C9A-8756-4C63-9ACD-AC46D3402619}" destId="{10FC98DD-F804-40FB-B142-27BC6DE92DAA}" srcOrd="2" destOrd="0" presId="urn:microsoft.com/office/officeart/2017/3/layout/DropPinTimeline"/>
    <dgm:cxn modelId="{EF7FC9BF-7946-4F34-A1CF-E56A3B86742C}" type="presParOf" srcId="{E24F2C9A-8756-4C63-9ACD-AC46D3402619}" destId="{171A52F2-4F0D-45EA-9554-D2D098D66F27}" srcOrd="3" destOrd="0" presId="urn:microsoft.com/office/officeart/2017/3/layout/DropPinTimeline"/>
    <dgm:cxn modelId="{B727592A-5348-4A7F-9401-6632DF3C262D}" type="presParOf" srcId="{E24F2C9A-8756-4C63-9ACD-AC46D3402619}" destId="{B7A2DA57-B765-45F0-BFAA-757342E464AD}" srcOrd="4" destOrd="0" presId="urn:microsoft.com/office/officeart/2017/3/layout/DropPinTimeline"/>
    <dgm:cxn modelId="{FE85BF47-481C-49E6-8C9C-3244EF7EC7D8}" type="presParOf" srcId="{E24F2C9A-8756-4C63-9ACD-AC46D3402619}" destId="{B4612D7D-3E09-4E0E-AB5F-112E200D1D94}" srcOrd="5" destOrd="0" presId="urn:microsoft.com/office/officeart/2017/3/layout/DropPinTimeline"/>
    <dgm:cxn modelId="{E5FEB7EE-5663-4EA4-BF52-F51D47E895B7}" type="presParOf" srcId="{F42CA0AF-3CEB-4697-B42A-75CD9089D325}" destId="{BE8151D8-C0F2-49EC-91E8-A0CC2011E9A1}" srcOrd="15" destOrd="0" presId="urn:microsoft.com/office/officeart/2017/3/layout/DropPinTimeline"/>
    <dgm:cxn modelId="{B7FDA64A-9A8C-4EBA-AF58-D605C85B6D47}" type="presParOf" srcId="{F42CA0AF-3CEB-4697-B42A-75CD9089D325}" destId="{BC8E6712-5583-4183-BA56-7CF90F690F14}" srcOrd="16" destOrd="0" presId="urn:microsoft.com/office/officeart/2017/3/layout/DropPinTimeline"/>
    <dgm:cxn modelId="{8E6CFE43-F602-40D6-906A-D6395389C8F7}" type="presParOf" srcId="{BC8E6712-5583-4183-BA56-7CF90F690F14}" destId="{90F3E0A5-72AC-42C0-8907-EACF239FDFD3}" srcOrd="0" destOrd="0" presId="urn:microsoft.com/office/officeart/2017/3/layout/DropPinTimeline"/>
    <dgm:cxn modelId="{ACB8661B-69D2-4D58-944F-1AFA7EE195EC}" type="presParOf" srcId="{BC8E6712-5583-4183-BA56-7CF90F690F14}" destId="{C0CD27F5-92C7-4DEC-8ACE-9CF2BB1F0387}" srcOrd="1" destOrd="0" presId="urn:microsoft.com/office/officeart/2017/3/layout/DropPinTimeline"/>
    <dgm:cxn modelId="{F96ABA2A-0B52-480F-A572-5D019E3B5F33}" type="presParOf" srcId="{C0CD27F5-92C7-4DEC-8ACE-9CF2BB1F0387}" destId="{323D1272-4205-4DE2-9DDA-14A6F1F85A0D}" srcOrd="0" destOrd="0" presId="urn:microsoft.com/office/officeart/2017/3/layout/DropPinTimeline"/>
    <dgm:cxn modelId="{DC6C1C03-3BD5-4291-9155-BF01895947AC}" type="presParOf" srcId="{C0CD27F5-92C7-4DEC-8ACE-9CF2BB1F0387}" destId="{6C001EAA-FCEE-44D6-A479-F7BC335FCC05}" srcOrd="1" destOrd="0" presId="urn:microsoft.com/office/officeart/2017/3/layout/DropPinTimeline"/>
    <dgm:cxn modelId="{55B727D4-A699-4035-8FA1-A565AB85004B}" type="presParOf" srcId="{BC8E6712-5583-4183-BA56-7CF90F690F14}" destId="{514D1F3B-6F09-405A-8135-6A686749B576}" srcOrd="2" destOrd="0" presId="urn:microsoft.com/office/officeart/2017/3/layout/DropPinTimeline"/>
    <dgm:cxn modelId="{9D8B7E26-3851-484D-8E62-423F538C9594}" type="presParOf" srcId="{BC8E6712-5583-4183-BA56-7CF90F690F14}" destId="{E358AB22-A5D9-4C0B-BB57-B99B189F189F}" srcOrd="3" destOrd="0" presId="urn:microsoft.com/office/officeart/2017/3/layout/DropPinTimeline"/>
    <dgm:cxn modelId="{CD37355D-3EEA-4886-B742-B86EA6181291}" type="presParOf" srcId="{BC8E6712-5583-4183-BA56-7CF90F690F14}" destId="{C158A821-995C-4AF3-A0D7-97473E4D3454}" srcOrd="4" destOrd="0" presId="urn:microsoft.com/office/officeart/2017/3/layout/DropPinTimeline"/>
    <dgm:cxn modelId="{E66EE6D6-0BFB-4558-B6CD-954BF987D766}" type="presParOf" srcId="{BC8E6712-5583-4183-BA56-7CF90F690F14}" destId="{F7B0BB42-9137-4F0A-A993-A857056310C3}" srcOrd="5" destOrd="0" presId="urn:microsoft.com/office/officeart/2017/3/layout/DropPinTimeline"/>
    <dgm:cxn modelId="{F4A8EBDA-3A5E-4B68-B440-C24D3DC08636}" type="presParOf" srcId="{F42CA0AF-3CEB-4697-B42A-75CD9089D325}" destId="{074CC1B3-8068-4F84-9442-E992DF066137}" srcOrd="17" destOrd="0" presId="urn:microsoft.com/office/officeart/2017/3/layout/DropPinTimeline"/>
    <dgm:cxn modelId="{DA52843E-7070-4282-9775-FD244602E39B}" type="presParOf" srcId="{F42CA0AF-3CEB-4697-B42A-75CD9089D325}" destId="{0DC81925-6A7C-4801-A56F-2D82304FFEC2}" srcOrd="18" destOrd="0" presId="urn:microsoft.com/office/officeart/2017/3/layout/DropPinTimeline"/>
    <dgm:cxn modelId="{A5FAF3B0-A1F3-4503-90DE-22213F9AC1FA}" type="presParOf" srcId="{0DC81925-6A7C-4801-A56F-2D82304FFEC2}" destId="{08CDEA4A-6E9F-4AFB-97D0-4ABB3EB98C8D}" srcOrd="0" destOrd="0" presId="urn:microsoft.com/office/officeart/2017/3/layout/DropPinTimeline"/>
    <dgm:cxn modelId="{88329226-58FF-469E-831D-ACBA81797899}" type="presParOf" srcId="{0DC81925-6A7C-4801-A56F-2D82304FFEC2}" destId="{5200E744-2073-44CD-B2AA-446FF932451A}" srcOrd="1" destOrd="0" presId="urn:microsoft.com/office/officeart/2017/3/layout/DropPinTimeline"/>
    <dgm:cxn modelId="{32617D70-F340-4DD0-8E76-DA6CA98A7F29}" type="presParOf" srcId="{5200E744-2073-44CD-B2AA-446FF932451A}" destId="{AB9E6591-7771-4993-9199-0625DBE3E12B}" srcOrd="0" destOrd="0" presId="urn:microsoft.com/office/officeart/2017/3/layout/DropPinTimeline"/>
    <dgm:cxn modelId="{BA486201-766A-47BF-913F-5616B44F8EAC}" type="presParOf" srcId="{5200E744-2073-44CD-B2AA-446FF932451A}" destId="{A0C9C058-E846-41A9-9EEE-C07D4B5F9188}" srcOrd="1" destOrd="0" presId="urn:microsoft.com/office/officeart/2017/3/layout/DropPinTimeline"/>
    <dgm:cxn modelId="{3FA2CB91-8BB7-4F8F-9A9A-B764A44EC196}" type="presParOf" srcId="{0DC81925-6A7C-4801-A56F-2D82304FFEC2}" destId="{EF681765-A5D6-47A5-8D03-ADE02237A7A2}" srcOrd="2" destOrd="0" presId="urn:microsoft.com/office/officeart/2017/3/layout/DropPinTimeline"/>
    <dgm:cxn modelId="{5C53B13F-BD25-4D34-930D-B1679D91E098}" type="presParOf" srcId="{0DC81925-6A7C-4801-A56F-2D82304FFEC2}" destId="{40228DAD-6701-4A60-BCD4-3BDEB5A99760}" srcOrd="3" destOrd="0" presId="urn:microsoft.com/office/officeart/2017/3/layout/DropPinTimeline"/>
    <dgm:cxn modelId="{5852C1A8-67E9-40AD-91A7-91E2DACAE046}" type="presParOf" srcId="{0DC81925-6A7C-4801-A56F-2D82304FFEC2}" destId="{122061E6-CD0A-4BBE-8933-91710B6DB801}" srcOrd="4" destOrd="0" presId="urn:microsoft.com/office/officeart/2017/3/layout/DropPinTimeline"/>
    <dgm:cxn modelId="{527CFC22-CE0E-4FC6-A7EC-AF9C08C177C1}" type="presParOf" srcId="{0DC81925-6A7C-4801-A56F-2D82304FFEC2}" destId="{56197D58-A387-4F61-BD50-6E9BF7A56153}" srcOrd="5" destOrd="0" presId="urn:microsoft.com/office/officeart/2017/3/layout/DropPinTimelin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895576-35F4-41F4-9443-A654B005A404}" type="doc">
      <dgm:prSet loTypeId="urn:microsoft.com/office/officeart/2005/8/layout/hProcess6" loCatId="process" qsTypeId="urn:microsoft.com/office/officeart/2005/8/quickstyle/3d1" qsCatId="3D" csTypeId="urn:microsoft.com/office/officeart/2005/8/colors/accent2_3" csCatId="accent2" phldr="1"/>
      <dgm:spPr/>
      <dgm:t>
        <a:bodyPr/>
        <a:lstStyle/>
        <a:p>
          <a:endParaRPr lang="en-US"/>
        </a:p>
      </dgm:t>
    </dgm:pt>
    <dgm:pt modelId="{FF628EAA-1148-47D8-B8BE-D26B4BD349A4}">
      <dgm:prSet phldrT="[Text]" phldr="0"/>
      <dgm:spPr/>
      <dgm:t>
        <a:bodyPr/>
        <a:lstStyle/>
        <a:p>
          <a:pPr rtl="0"/>
          <a:r>
            <a:rPr lang="en-US" b="1">
              <a:latin typeface="Calibri"/>
              <a:cs typeface="Calibri"/>
            </a:rPr>
            <a:t>Certification Period</a:t>
          </a:r>
        </a:p>
      </dgm:t>
    </dgm:pt>
    <dgm:pt modelId="{1349C302-829C-466A-BD34-DFA45D2768BB}" type="parTrans" cxnId="{852BE5C7-BF27-48C7-9F8A-93B369DEE236}">
      <dgm:prSet/>
      <dgm:spPr/>
      <dgm:t>
        <a:bodyPr/>
        <a:lstStyle/>
        <a:p>
          <a:endParaRPr lang="en-US"/>
        </a:p>
      </dgm:t>
    </dgm:pt>
    <dgm:pt modelId="{B563D20B-6E62-4AA2-8086-476C0076F7AA}" type="sibTrans" cxnId="{852BE5C7-BF27-48C7-9F8A-93B369DEE236}">
      <dgm:prSet/>
      <dgm:spPr/>
      <dgm:t>
        <a:bodyPr/>
        <a:lstStyle/>
        <a:p>
          <a:endParaRPr lang="en-US"/>
        </a:p>
      </dgm:t>
    </dgm:pt>
    <dgm:pt modelId="{EB0073EE-313F-4F4D-A19E-A8233EFB1E40}">
      <dgm:prSet phldrT="[Text]" phldr="0"/>
      <dgm:spPr/>
      <dgm:t>
        <a:bodyPr/>
        <a:lstStyle/>
        <a:p>
          <a:pPr rtl="0"/>
          <a:r>
            <a:rPr lang="en-US">
              <a:latin typeface="Arial"/>
            </a:rPr>
            <a:t>Up to 4 years</a:t>
          </a:r>
          <a:endParaRPr lang="en-US"/>
        </a:p>
      </dgm:t>
    </dgm:pt>
    <dgm:pt modelId="{4AA573D0-E024-498D-A4AA-C98E8118DE27}" type="parTrans" cxnId="{E224B002-4878-4A78-8403-4E87A564CBFA}">
      <dgm:prSet/>
      <dgm:spPr/>
      <dgm:t>
        <a:bodyPr/>
        <a:lstStyle/>
        <a:p>
          <a:endParaRPr lang="en-US"/>
        </a:p>
      </dgm:t>
    </dgm:pt>
    <dgm:pt modelId="{D8D7CBFC-DB31-40F9-9A10-5247DAB054D9}" type="sibTrans" cxnId="{E224B002-4878-4A78-8403-4E87A564CBFA}">
      <dgm:prSet/>
      <dgm:spPr/>
      <dgm:t>
        <a:bodyPr/>
        <a:lstStyle/>
        <a:p>
          <a:endParaRPr lang="en-US"/>
        </a:p>
      </dgm:t>
    </dgm:pt>
    <dgm:pt modelId="{B874B6D9-42AA-4026-80CA-E0C69CFAC220}">
      <dgm:prSet phldrT="[Text]" phldr="0"/>
      <dgm:spPr/>
      <dgm:t>
        <a:bodyPr/>
        <a:lstStyle/>
        <a:p>
          <a:pPr rtl="0"/>
          <a:r>
            <a:rPr lang="en-US">
              <a:latin typeface="Arial"/>
            </a:rPr>
            <a:t>Award Period</a:t>
          </a:r>
          <a:endParaRPr lang="en-US"/>
        </a:p>
      </dgm:t>
    </dgm:pt>
    <dgm:pt modelId="{D215A925-1A88-4CA5-9411-EC7598FBEAB0}" type="parTrans" cxnId="{CEF9B38F-EAD9-4A0F-A9EB-5F9AC4FEBE8B}">
      <dgm:prSet/>
      <dgm:spPr/>
      <dgm:t>
        <a:bodyPr/>
        <a:lstStyle/>
        <a:p>
          <a:endParaRPr lang="en-US"/>
        </a:p>
      </dgm:t>
    </dgm:pt>
    <dgm:pt modelId="{51FC5389-0358-48EE-8F90-80264BFA85AE}" type="sibTrans" cxnId="{CEF9B38F-EAD9-4A0F-A9EB-5F9AC4FEBE8B}">
      <dgm:prSet/>
      <dgm:spPr/>
      <dgm:t>
        <a:bodyPr/>
        <a:lstStyle/>
        <a:p>
          <a:endParaRPr lang="en-US"/>
        </a:p>
      </dgm:t>
    </dgm:pt>
    <dgm:pt modelId="{BC6D709A-899D-4917-9CF2-30C38E71446D}">
      <dgm:prSet phldrT="[Text]" phldr="0"/>
      <dgm:spPr/>
      <dgm:t>
        <a:bodyPr/>
        <a:lstStyle/>
        <a:p>
          <a:pPr rtl="0"/>
          <a:r>
            <a:rPr lang="en-US">
              <a:latin typeface="Arial"/>
            </a:rPr>
            <a:t>Years 1-5</a:t>
          </a:r>
          <a:endParaRPr lang="en-US"/>
        </a:p>
      </dgm:t>
    </dgm:pt>
    <dgm:pt modelId="{55E7E93B-A23D-408B-91ED-430157F8F384}" type="parTrans" cxnId="{6BF1AD3E-54B5-4793-BF0F-E88D619442E9}">
      <dgm:prSet/>
      <dgm:spPr/>
      <dgm:t>
        <a:bodyPr/>
        <a:lstStyle/>
        <a:p>
          <a:endParaRPr lang="en-US"/>
        </a:p>
      </dgm:t>
    </dgm:pt>
    <dgm:pt modelId="{4D15607A-93CB-45A3-AD70-82036085862F}" type="sibTrans" cxnId="{6BF1AD3E-54B5-4793-BF0F-E88D619442E9}">
      <dgm:prSet/>
      <dgm:spPr/>
      <dgm:t>
        <a:bodyPr/>
        <a:lstStyle/>
        <a:p>
          <a:endParaRPr lang="en-US"/>
        </a:p>
      </dgm:t>
    </dgm:pt>
    <dgm:pt modelId="{5714C339-ED80-49E8-8FF2-14925D8A68CB}">
      <dgm:prSet phldrT="[Text]" phldr="0"/>
      <dgm:spPr/>
      <dgm:t>
        <a:bodyPr/>
        <a:lstStyle/>
        <a:p>
          <a:pPr rtl="0"/>
          <a:r>
            <a:rPr lang="en-US">
              <a:latin typeface="Arial"/>
            </a:rPr>
            <a:t>Compliance Period</a:t>
          </a:r>
          <a:endParaRPr lang="en-US"/>
        </a:p>
      </dgm:t>
    </dgm:pt>
    <dgm:pt modelId="{3DCC22B3-9017-468F-8C4C-F6CEB28B2327}" type="parTrans" cxnId="{3FDCA973-1DB3-4E3D-BBEF-56F845AC1D39}">
      <dgm:prSet/>
      <dgm:spPr/>
      <dgm:t>
        <a:bodyPr/>
        <a:lstStyle/>
        <a:p>
          <a:endParaRPr lang="en-US"/>
        </a:p>
      </dgm:t>
    </dgm:pt>
    <dgm:pt modelId="{CC7D273E-9823-43EA-BCFC-512006E40878}" type="sibTrans" cxnId="{3FDCA973-1DB3-4E3D-BBEF-56F845AC1D39}">
      <dgm:prSet/>
      <dgm:spPr/>
      <dgm:t>
        <a:bodyPr/>
        <a:lstStyle/>
        <a:p>
          <a:endParaRPr lang="en-US"/>
        </a:p>
      </dgm:t>
    </dgm:pt>
    <dgm:pt modelId="{B855EA70-CD5F-4F54-B72F-404CAE1AD361}">
      <dgm:prSet phldrT="[Text]" phldr="0"/>
      <dgm:spPr/>
      <dgm:t>
        <a:bodyPr/>
        <a:lstStyle/>
        <a:p>
          <a:pPr rtl="0"/>
          <a:r>
            <a:rPr lang="en-US">
              <a:latin typeface="Arial"/>
            </a:rPr>
            <a:t>Years 6-10</a:t>
          </a:r>
          <a:endParaRPr lang="en-US"/>
        </a:p>
      </dgm:t>
    </dgm:pt>
    <dgm:pt modelId="{0D2F57A5-5A5A-44EA-A032-ABA1F8DF83F9}" type="parTrans" cxnId="{995000A6-78DE-42BF-988E-189C4FFF0593}">
      <dgm:prSet/>
      <dgm:spPr/>
      <dgm:t>
        <a:bodyPr/>
        <a:lstStyle/>
        <a:p>
          <a:endParaRPr lang="en-US"/>
        </a:p>
      </dgm:t>
    </dgm:pt>
    <dgm:pt modelId="{C5354748-BA32-4BAC-877A-A8E195A650CE}" type="sibTrans" cxnId="{995000A6-78DE-42BF-988E-189C4FFF0593}">
      <dgm:prSet/>
      <dgm:spPr/>
      <dgm:t>
        <a:bodyPr/>
        <a:lstStyle/>
        <a:p>
          <a:endParaRPr lang="en-US"/>
        </a:p>
      </dgm:t>
    </dgm:pt>
    <dgm:pt modelId="{E0F1DD53-8B9E-42DD-84A5-03C9EF705182}" type="pres">
      <dgm:prSet presAssocID="{D2895576-35F4-41F4-9443-A654B005A404}" presName="theList" presStyleCnt="0">
        <dgm:presLayoutVars>
          <dgm:dir/>
          <dgm:animLvl val="lvl"/>
          <dgm:resizeHandles val="exact"/>
        </dgm:presLayoutVars>
      </dgm:prSet>
      <dgm:spPr/>
    </dgm:pt>
    <dgm:pt modelId="{290AEB36-3127-445B-9C05-987EFE683E46}" type="pres">
      <dgm:prSet presAssocID="{FF628EAA-1148-47D8-B8BE-D26B4BD349A4}" presName="compNode" presStyleCnt="0"/>
      <dgm:spPr/>
    </dgm:pt>
    <dgm:pt modelId="{28B85FB2-3468-4DED-AFE1-4541D4F3DE1B}" type="pres">
      <dgm:prSet presAssocID="{FF628EAA-1148-47D8-B8BE-D26B4BD349A4}" presName="noGeometry" presStyleCnt="0"/>
      <dgm:spPr/>
    </dgm:pt>
    <dgm:pt modelId="{C1C67DA1-09D5-44F4-9B7A-72B27E339021}" type="pres">
      <dgm:prSet presAssocID="{FF628EAA-1148-47D8-B8BE-D26B4BD349A4}" presName="childTextVisible" presStyleLbl="bgAccFollowNode1" presStyleIdx="0" presStyleCnt="3">
        <dgm:presLayoutVars>
          <dgm:bulletEnabled val="1"/>
        </dgm:presLayoutVars>
      </dgm:prSet>
      <dgm:spPr/>
    </dgm:pt>
    <dgm:pt modelId="{5EBDF6F5-D44F-4E96-BCCE-59277AE73E05}" type="pres">
      <dgm:prSet presAssocID="{FF628EAA-1148-47D8-B8BE-D26B4BD349A4}" presName="childTextHidden" presStyleLbl="bgAccFollowNode1" presStyleIdx="0" presStyleCnt="3"/>
      <dgm:spPr/>
    </dgm:pt>
    <dgm:pt modelId="{BDC17145-DA3F-4FF0-9C85-78EACB32357F}" type="pres">
      <dgm:prSet presAssocID="{FF628EAA-1148-47D8-B8BE-D26B4BD349A4}" presName="parentText" presStyleLbl="node1" presStyleIdx="0" presStyleCnt="3">
        <dgm:presLayoutVars>
          <dgm:chMax val="1"/>
          <dgm:bulletEnabled val="1"/>
        </dgm:presLayoutVars>
      </dgm:prSet>
      <dgm:spPr/>
    </dgm:pt>
    <dgm:pt modelId="{8A3AEEDA-3F83-4E8C-AAED-A7254BCB12FC}" type="pres">
      <dgm:prSet presAssocID="{FF628EAA-1148-47D8-B8BE-D26B4BD349A4}" presName="aSpace" presStyleCnt="0"/>
      <dgm:spPr/>
    </dgm:pt>
    <dgm:pt modelId="{FA6AA053-DA19-4E2B-A94E-EBF6D56DA267}" type="pres">
      <dgm:prSet presAssocID="{B874B6D9-42AA-4026-80CA-E0C69CFAC220}" presName="compNode" presStyleCnt="0"/>
      <dgm:spPr/>
    </dgm:pt>
    <dgm:pt modelId="{31A6A072-132B-4A01-AF9B-9FA2A951B5E8}" type="pres">
      <dgm:prSet presAssocID="{B874B6D9-42AA-4026-80CA-E0C69CFAC220}" presName="noGeometry" presStyleCnt="0"/>
      <dgm:spPr/>
    </dgm:pt>
    <dgm:pt modelId="{9A8CE8CB-1CFF-454E-BB4D-0FF75430514D}" type="pres">
      <dgm:prSet presAssocID="{B874B6D9-42AA-4026-80CA-E0C69CFAC220}" presName="childTextVisible" presStyleLbl="bgAccFollowNode1" presStyleIdx="1" presStyleCnt="3">
        <dgm:presLayoutVars>
          <dgm:bulletEnabled val="1"/>
        </dgm:presLayoutVars>
      </dgm:prSet>
      <dgm:spPr/>
    </dgm:pt>
    <dgm:pt modelId="{3FC25819-14E8-486E-B291-1D5E56835A27}" type="pres">
      <dgm:prSet presAssocID="{B874B6D9-42AA-4026-80CA-E0C69CFAC220}" presName="childTextHidden" presStyleLbl="bgAccFollowNode1" presStyleIdx="1" presStyleCnt="3"/>
      <dgm:spPr/>
    </dgm:pt>
    <dgm:pt modelId="{F011C9B0-954B-437C-AF47-FEADDD951100}" type="pres">
      <dgm:prSet presAssocID="{B874B6D9-42AA-4026-80CA-E0C69CFAC220}" presName="parentText" presStyleLbl="node1" presStyleIdx="1" presStyleCnt="3">
        <dgm:presLayoutVars>
          <dgm:chMax val="1"/>
          <dgm:bulletEnabled val="1"/>
        </dgm:presLayoutVars>
      </dgm:prSet>
      <dgm:spPr/>
    </dgm:pt>
    <dgm:pt modelId="{FBE3DAB3-BED3-4322-B850-C565C1F5E12C}" type="pres">
      <dgm:prSet presAssocID="{B874B6D9-42AA-4026-80CA-E0C69CFAC220}" presName="aSpace" presStyleCnt="0"/>
      <dgm:spPr/>
    </dgm:pt>
    <dgm:pt modelId="{FEB7C092-5FB6-4086-95F0-A27B663FFCE7}" type="pres">
      <dgm:prSet presAssocID="{5714C339-ED80-49E8-8FF2-14925D8A68CB}" presName="compNode" presStyleCnt="0"/>
      <dgm:spPr/>
    </dgm:pt>
    <dgm:pt modelId="{068A607F-1352-461F-B0C7-AA6AA50FA0B5}" type="pres">
      <dgm:prSet presAssocID="{5714C339-ED80-49E8-8FF2-14925D8A68CB}" presName="noGeometry" presStyleCnt="0"/>
      <dgm:spPr/>
    </dgm:pt>
    <dgm:pt modelId="{B806CAE7-A3A6-451B-A429-69569B405F4F}" type="pres">
      <dgm:prSet presAssocID="{5714C339-ED80-49E8-8FF2-14925D8A68CB}" presName="childTextVisible" presStyleLbl="bgAccFollowNode1" presStyleIdx="2" presStyleCnt="3">
        <dgm:presLayoutVars>
          <dgm:bulletEnabled val="1"/>
        </dgm:presLayoutVars>
      </dgm:prSet>
      <dgm:spPr/>
    </dgm:pt>
    <dgm:pt modelId="{9EC4DB17-9853-49FA-817B-7BF0D77D5EBC}" type="pres">
      <dgm:prSet presAssocID="{5714C339-ED80-49E8-8FF2-14925D8A68CB}" presName="childTextHidden" presStyleLbl="bgAccFollowNode1" presStyleIdx="2" presStyleCnt="3"/>
      <dgm:spPr/>
    </dgm:pt>
    <dgm:pt modelId="{175E4200-B9C5-48A4-8011-2D42A04E82E3}" type="pres">
      <dgm:prSet presAssocID="{5714C339-ED80-49E8-8FF2-14925D8A68CB}" presName="parentText" presStyleLbl="node1" presStyleIdx="2" presStyleCnt="3">
        <dgm:presLayoutVars>
          <dgm:chMax val="1"/>
          <dgm:bulletEnabled val="1"/>
        </dgm:presLayoutVars>
      </dgm:prSet>
      <dgm:spPr/>
    </dgm:pt>
  </dgm:ptLst>
  <dgm:cxnLst>
    <dgm:cxn modelId="{E224B002-4878-4A78-8403-4E87A564CBFA}" srcId="{FF628EAA-1148-47D8-B8BE-D26B4BD349A4}" destId="{EB0073EE-313F-4F4D-A19E-A8233EFB1E40}" srcOrd="0" destOrd="0" parTransId="{4AA573D0-E024-498D-A4AA-C98E8118DE27}" sibTransId="{D8D7CBFC-DB31-40F9-9A10-5247DAB054D9}"/>
    <dgm:cxn modelId="{13AF6509-88A1-4405-83CB-FC6060C68EA5}" type="presOf" srcId="{D2895576-35F4-41F4-9443-A654B005A404}" destId="{E0F1DD53-8B9E-42DD-84A5-03C9EF705182}" srcOrd="0" destOrd="0" presId="urn:microsoft.com/office/officeart/2005/8/layout/hProcess6"/>
    <dgm:cxn modelId="{E937C93C-661A-434A-875E-41CC7DEA71C8}" type="presOf" srcId="{5714C339-ED80-49E8-8FF2-14925D8A68CB}" destId="{175E4200-B9C5-48A4-8011-2D42A04E82E3}" srcOrd="0" destOrd="0" presId="urn:microsoft.com/office/officeart/2005/8/layout/hProcess6"/>
    <dgm:cxn modelId="{6BF1AD3E-54B5-4793-BF0F-E88D619442E9}" srcId="{B874B6D9-42AA-4026-80CA-E0C69CFAC220}" destId="{BC6D709A-899D-4917-9CF2-30C38E71446D}" srcOrd="0" destOrd="0" parTransId="{55E7E93B-A23D-408B-91ED-430157F8F384}" sibTransId="{4D15607A-93CB-45A3-AD70-82036085862F}"/>
    <dgm:cxn modelId="{33D00E5B-80F1-4F36-A2E0-E50AC3DC63A2}" type="presOf" srcId="{B874B6D9-42AA-4026-80CA-E0C69CFAC220}" destId="{F011C9B0-954B-437C-AF47-FEADDD951100}" srcOrd="0" destOrd="0" presId="urn:microsoft.com/office/officeart/2005/8/layout/hProcess6"/>
    <dgm:cxn modelId="{FBC90166-4721-4425-9FA5-828572752A6C}" type="presOf" srcId="{EB0073EE-313F-4F4D-A19E-A8233EFB1E40}" destId="{C1C67DA1-09D5-44F4-9B7A-72B27E339021}" srcOrd="0" destOrd="0" presId="urn:microsoft.com/office/officeart/2005/8/layout/hProcess6"/>
    <dgm:cxn modelId="{09729347-E88E-4C38-AD9B-D89ABFFBCBED}" type="presOf" srcId="{B855EA70-CD5F-4F54-B72F-404CAE1AD361}" destId="{9EC4DB17-9853-49FA-817B-7BF0D77D5EBC}" srcOrd="1" destOrd="0" presId="urn:microsoft.com/office/officeart/2005/8/layout/hProcess6"/>
    <dgm:cxn modelId="{E6DE3D4B-39EC-43F3-8627-2E7DBCAEDA70}" type="presOf" srcId="{BC6D709A-899D-4917-9CF2-30C38E71446D}" destId="{3FC25819-14E8-486E-B291-1D5E56835A27}" srcOrd="1" destOrd="0" presId="urn:microsoft.com/office/officeart/2005/8/layout/hProcess6"/>
    <dgm:cxn modelId="{42C90F4C-0CF7-4E9A-B863-8585CA356444}" type="presOf" srcId="{B855EA70-CD5F-4F54-B72F-404CAE1AD361}" destId="{B806CAE7-A3A6-451B-A429-69569B405F4F}" srcOrd="0" destOrd="0" presId="urn:microsoft.com/office/officeart/2005/8/layout/hProcess6"/>
    <dgm:cxn modelId="{3FDCA973-1DB3-4E3D-BBEF-56F845AC1D39}" srcId="{D2895576-35F4-41F4-9443-A654B005A404}" destId="{5714C339-ED80-49E8-8FF2-14925D8A68CB}" srcOrd="2" destOrd="0" parTransId="{3DCC22B3-9017-468F-8C4C-F6CEB28B2327}" sibTransId="{CC7D273E-9823-43EA-BCFC-512006E40878}"/>
    <dgm:cxn modelId="{C5B8F055-95F0-46DF-BA29-97FF26018D70}" type="presOf" srcId="{FF628EAA-1148-47D8-B8BE-D26B4BD349A4}" destId="{BDC17145-DA3F-4FF0-9C85-78EACB32357F}" srcOrd="0" destOrd="0" presId="urn:microsoft.com/office/officeart/2005/8/layout/hProcess6"/>
    <dgm:cxn modelId="{CEF9B38F-EAD9-4A0F-A9EB-5F9AC4FEBE8B}" srcId="{D2895576-35F4-41F4-9443-A654B005A404}" destId="{B874B6D9-42AA-4026-80CA-E0C69CFAC220}" srcOrd="1" destOrd="0" parTransId="{D215A925-1A88-4CA5-9411-EC7598FBEAB0}" sibTransId="{51FC5389-0358-48EE-8F90-80264BFA85AE}"/>
    <dgm:cxn modelId="{58439593-34FB-48DE-ACEF-C829B6A133EB}" type="presOf" srcId="{BC6D709A-899D-4917-9CF2-30C38E71446D}" destId="{9A8CE8CB-1CFF-454E-BB4D-0FF75430514D}" srcOrd="0" destOrd="0" presId="urn:microsoft.com/office/officeart/2005/8/layout/hProcess6"/>
    <dgm:cxn modelId="{995000A6-78DE-42BF-988E-189C4FFF0593}" srcId="{5714C339-ED80-49E8-8FF2-14925D8A68CB}" destId="{B855EA70-CD5F-4F54-B72F-404CAE1AD361}" srcOrd="0" destOrd="0" parTransId="{0D2F57A5-5A5A-44EA-A032-ABA1F8DF83F9}" sibTransId="{C5354748-BA32-4BAC-877A-A8E195A650CE}"/>
    <dgm:cxn modelId="{852BE5C7-BF27-48C7-9F8A-93B369DEE236}" srcId="{D2895576-35F4-41F4-9443-A654B005A404}" destId="{FF628EAA-1148-47D8-B8BE-D26B4BD349A4}" srcOrd="0" destOrd="0" parTransId="{1349C302-829C-466A-BD34-DFA45D2768BB}" sibTransId="{B563D20B-6E62-4AA2-8086-476C0076F7AA}"/>
    <dgm:cxn modelId="{E3BA5FF3-ABE9-4338-A6EF-1B40ABEE9E55}" type="presOf" srcId="{EB0073EE-313F-4F4D-A19E-A8233EFB1E40}" destId="{5EBDF6F5-D44F-4E96-BCCE-59277AE73E05}" srcOrd="1" destOrd="0" presId="urn:microsoft.com/office/officeart/2005/8/layout/hProcess6"/>
    <dgm:cxn modelId="{BF8AD2AE-166A-46AA-90F4-A9287E882591}" type="presParOf" srcId="{E0F1DD53-8B9E-42DD-84A5-03C9EF705182}" destId="{290AEB36-3127-445B-9C05-987EFE683E46}" srcOrd="0" destOrd="0" presId="urn:microsoft.com/office/officeart/2005/8/layout/hProcess6"/>
    <dgm:cxn modelId="{B0A8C797-6F65-4525-B232-EDC33CE65C6B}" type="presParOf" srcId="{290AEB36-3127-445B-9C05-987EFE683E46}" destId="{28B85FB2-3468-4DED-AFE1-4541D4F3DE1B}" srcOrd="0" destOrd="0" presId="urn:microsoft.com/office/officeart/2005/8/layout/hProcess6"/>
    <dgm:cxn modelId="{B22D12DB-3659-4DB1-BD62-3200FF354804}" type="presParOf" srcId="{290AEB36-3127-445B-9C05-987EFE683E46}" destId="{C1C67DA1-09D5-44F4-9B7A-72B27E339021}" srcOrd="1" destOrd="0" presId="urn:microsoft.com/office/officeart/2005/8/layout/hProcess6"/>
    <dgm:cxn modelId="{1AC56966-7A57-48EB-A35F-1F18F8C5364D}" type="presParOf" srcId="{290AEB36-3127-445B-9C05-987EFE683E46}" destId="{5EBDF6F5-D44F-4E96-BCCE-59277AE73E05}" srcOrd="2" destOrd="0" presId="urn:microsoft.com/office/officeart/2005/8/layout/hProcess6"/>
    <dgm:cxn modelId="{9F26C62E-2896-42A8-8478-AF566DAD1221}" type="presParOf" srcId="{290AEB36-3127-445B-9C05-987EFE683E46}" destId="{BDC17145-DA3F-4FF0-9C85-78EACB32357F}" srcOrd="3" destOrd="0" presId="urn:microsoft.com/office/officeart/2005/8/layout/hProcess6"/>
    <dgm:cxn modelId="{EC311FC2-FD32-4F9C-AC4E-A2F443304FCA}" type="presParOf" srcId="{E0F1DD53-8B9E-42DD-84A5-03C9EF705182}" destId="{8A3AEEDA-3F83-4E8C-AAED-A7254BCB12FC}" srcOrd="1" destOrd="0" presId="urn:microsoft.com/office/officeart/2005/8/layout/hProcess6"/>
    <dgm:cxn modelId="{0D383ACE-812B-4DD4-9D6B-0C6DE3C06786}" type="presParOf" srcId="{E0F1DD53-8B9E-42DD-84A5-03C9EF705182}" destId="{FA6AA053-DA19-4E2B-A94E-EBF6D56DA267}" srcOrd="2" destOrd="0" presId="urn:microsoft.com/office/officeart/2005/8/layout/hProcess6"/>
    <dgm:cxn modelId="{7211FC6E-B768-462D-A0DC-395824ABBB42}" type="presParOf" srcId="{FA6AA053-DA19-4E2B-A94E-EBF6D56DA267}" destId="{31A6A072-132B-4A01-AF9B-9FA2A951B5E8}" srcOrd="0" destOrd="0" presId="urn:microsoft.com/office/officeart/2005/8/layout/hProcess6"/>
    <dgm:cxn modelId="{2D3C8D9C-B2A9-4635-AE7D-8F746B76CB68}" type="presParOf" srcId="{FA6AA053-DA19-4E2B-A94E-EBF6D56DA267}" destId="{9A8CE8CB-1CFF-454E-BB4D-0FF75430514D}" srcOrd="1" destOrd="0" presId="urn:microsoft.com/office/officeart/2005/8/layout/hProcess6"/>
    <dgm:cxn modelId="{ACB3F0D7-1E20-4FD8-9F8B-8628E8B04363}" type="presParOf" srcId="{FA6AA053-DA19-4E2B-A94E-EBF6D56DA267}" destId="{3FC25819-14E8-486E-B291-1D5E56835A27}" srcOrd="2" destOrd="0" presId="urn:microsoft.com/office/officeart/2005/8/layout/hProcess6"/>
    <dgm:cxn modelId="{9680F32A-1AE9-4D5A-9DD0-4B7EC3824865}" type="presParOf" srcId="{FA6AA053-DA19-4E2B-A94E-EBF6D56DA267}" destId="{F011C9B0-954B-437C-AF47-FEADDD951100}" srcOrd="3" destOrd="0" presId="urn:microsoft.com/office/officeart/2005/8/layout/hProcess6"/>
    <dgm:cxn modelId="{4609434D-FA12-46AC-91B1-815E5E779764}" type="presParOf" srcId="{E0F1DD53-8B9E-42DD-84A5-03C9EF705182}" destId="{FBE3DAB3-BED3-4322-B850-C565C1F5E12C}" srcOrd="3" destOrd="0" presId="urn:microsoft.com/office/officeart/2005/8/layout/hProcess6"/>
    <dgm:cxn modelId="{7353BF8F-22BC-4078-A7C4-DBEA75AF3936}" type="presParOf" srcId="{E0F1DD53-8B9E-42DD-84A5-03C9EF705182}" destId="{FEB7C092-5FB6-4086-95F0-A27B663FFCE7}" srcOrd="4" destOrd="0" presId="urn:microsoft.com/office/officeart/2005/8/layout/hProcess6"/>
    <dgm:cxn modelId="{D0E078EC-5C1E-4DDB-96CF-9264E24E9EA6}" type="presParOf" srcId="{FEB7C092-5FB6-4086-95F0-A27B663FFCE7}" destId="{068A607F-1352-461F-B0C7-AA6AA50FA0B5}" srcOrd="0" destOrd="0" presId="urn:microsoft.com/office/officeart/2005/8/layout/hProcess6"/>
    <dgm:cxn modelId="{D1D92301-3AAE-439B-A4F3-540251A6CAD7}" type="presParOf" srcId="{FEB7C092-5FB6-4086-95F0-A27B663FFCE7}" destId="{B806CAE7-A3A6-451B-A429-69569B405F4F}" srcOrd="1" destOrd="0" presId="urn:microsoft.com/office/officeart/2005/8/layout/hProcess6"/>
    <dgm:cxn modelId="{A28ABD6E-29E8-4181-ABC6-06791368CE4D}" type="presParOf" srcId="{FEB7C092-5FB6-4086-95F0-A27B663FFCE7}" destId="{9EC4DB17-9853-49FA-817B-7BF0D77D5EBC}" srcOrd="2" destOrd="0" presId="urn:microsoft.com/office/officeart/2005/8/layout/hProcess6"/>
    <dgm:cxn modelId="{D1E6A4D9-835E-4F82-814C-360D00AEED84}" type="presParOf" srcId="{FEB7C092-5FB6-4086-95F0-A27B663FFCE7}" destId="{175E4200-B9C5-48A4-8011-2D42A04E82E3}"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02C73F-B2C1-4FB5-8DA4-66169646256E}" type="doc">
      <dgm:prSet loTypeId="urn:microsoft.com/office/officeart/2016/7/layout/AccentHomeChevronProcess" loCatId="timeline" qsTypeId="urn:microsoft.com/office/officeart/2005/8/quickstyle/3d2" qsCatId="3D" csTypeId="urn:microsoft.com/office/officeart/2005/8/colors/accent2_3" csCatId="accent2" phldr="1"/>
      <dgm:spPr/>
      <dgm:t>
        <a:bodyPr/>
        <a:lstStyle/>
        <a:p>
          <a:endParaRPr lang="en-US"/>
        </a:p>
      </dgm:t>
    </dgm:pt>
    <dgm:pt modelId="{2D338E4E-31AF-47C2-813C-5022656A7F89}">
      <dgm:prSet phldrT="[Text]" phldr="0"/>
      <dgm:spPr/>
      <dgm:t>
        <a:bodyPr/>
        <a:lstStyle/>
        <a:p>
          <a:pPr rtl="0"/>
          <a:r>
            <a:rPr lang="en-US" b="1">
              <a:solidFill>
                <a:srgbClr val="00597C"/>
              </a:solidFill>
              <a:latin typeface="Calibri"/>
              <a:cs typeface="Calibri"/>
            </a:rPr>
            <a:t> Construction </a:t>
          </a:r>
        </a:p>
      </dgm:t>
    </dgm:pt>
    <dgm:pt modelId="{FF0ECE84-FAD3-486D-B35F-ED45400D7543}" type="parTrans" cxnId="{70C1BD89-BC82-4E31-AF43-F5C7CD9C171F}">
      <dgm:prSet/>
      <dgm:spPr/>
      <dgm:t>
        <a:bodyPr/>
        <a:lstStyle/>
        <a:p>
          <a:endParaRPr lang="en-US"/>
        </a:p>
      </dgm:t>
    </dgm:pt>
    <dgm:pt modelId="{ABBBC852-302D-457F-8ADA-C667E0F4F861}" type="sibTrans" cxnId="{70C1BD89-BC82-4E31-AF43-F5C7CD9C171F}">
      <dgm:prSet/>
      <dgm:spPr/>
      <dgm:t>
        <a:bodyPr/>
        <a:lstStyle/>
        <a:p>
          <a:endParaRPr lang="en-US"/>
        </a:p>
      </dgm:t>
    </dgm:pt>
    <dgm:pt modelId="{4A029C56-57DF-4EB7-AE3D-6F1E82111092}">
      <dgm:prSet phldrT="[Text]" phldr="0" custT="1"/>
      <dgm:spPr/>
      <dgm:t>
        <a:bodyPr/>
        <a:lstStyle/>
        <a:p>
          <a:pPr rtl="0">
            <a:buFont typeface="Wingdings" panose="05000000000000000000" pitchFamily="2" charset="2"/>
            <a:buChar char="Ø"/>
          </a:pPr>
          <a:r>
            <a:rPr lang="en-US" sz="1100" b="1">
              <a:solidFill>
                <a:srgbClr val="00597C"/>
              </a:solidFill>
              <a:latin typeface="Calibri"/>
              <a:cs typeface="Calibri"/>
            </a:rPr>
            <a:t>  </a:t>
          </a:r>
          <a:r>
            <a:rPr lang="en-US" sz="2000" b="1">
              <a:solidFill>
                <a:srgbClr val="00597C"/>
              </a:solidFill>
              <a:latin typeface="Calibri"/>
              <a:cs typeface="Calibri"/>
            </a:rPr>
            <a:t>No tax credits are issued</a:t>
          </a:r>
        </a:p>
      </dgm:t>
    </dgm:pt>
    <dgm:pt modelId="{518DA3CA-604B-4F56-84FC-D910CBF0AC2A}" type="parTrans" cxnId="{A423C7DD-683C-4B27-85D3-3614461E3881}">
      <dgm:prSet/>
      <dgm:spPr/>
      <dgm:t>
        <a:bodyPr/>
        <a:lstStyle/>
        <a:p>
          <a:endParaRPr lang="en-US"/>
        </a:p>
      </dgm:t>
    </dgm:pt>
    <dgm:pt modelId="{333C80B6-0EBC-455E-92C7-2476BF7EC031}" type="sibTrans" cxnId="{A423C7DD-683C-4B27-85D3-3614461E3881}">
      <dgm:prSet/>
      <dgm:spPr/>
      <dgm:t>
        <a:bodyPr/>
        <a:lstStyle/>
        <a:p>
          <a:endParaRPr lang="en-US"/>
        </a:p>
      </dgm:t>
    </dgm:pt>
    <dgm:pt modelId="{EE3EA555-D95F-42DA-A296-3FBC77BB39EB}">
      <dgm:prSet phldrT="[Text]" phldr="0"/>
      <dgm:spPr/>
      <dgm:t>
        <a:bodyPr/>
        <a:lstStyle/>
        <a:p>
          <a:pPr rtl="0"/>
          <a:r>
            <a:rPr lang="en-US" b="1">
              <a:solidFill>
                <a:srgbClr val="00597C"/>
              </a:solidFill>
              <a:latin typeface="Calibri"/>
              <a:cs typeface="Calibri"/>
            </a:rPr>
            <a:t> Year 1-5</a:t>
          </a:r>
        </a:p>
      </dgm:t>
    </dgm:pt>
    <dgm:pt modelId="{FD4DB5D7-CEF0-43CB-9D0A-591613B68CD0}" type="parTrans" cxnId="{B5151937-42CD-4590-BBBF-83A06B3A54C0}">
      <dgm:prSet/>
      <dgm:spPr/>
      <dgm:t>
        <a:bodyPr/>
        <a:lstStyle/>
        <a:p>
          <a:endParaRPr lang="en-US"/>
        </a:p>
      </dgm:t>
    </dgm:pt>
    <dgm:pt modelId="{8D56DB7A-8318-4DFC-94D7-EC7010E17DE0}" type="sibTrans" cxnId="{B5151937-42CD-4590-BBBF-83A06B3A54C0}">
      <dgm:prSet/>
      <dgm:spPr/>
      <dgm:t>
        <a:bodyPr/>
        <a:lstStyle/>
        <a:p>
          <a:endParaRPr lang="en-US"/>
        </a:p>
      </dgm:t>
    </dgm:pt>
    <dgm:pt modelId="{FC3592AC-0728-42D9-9B35-EDF00986B125}">
      <dgm:prSet phldrT="[Text]" phldr="0" custT="1"/>
      <dgm:spPr/>
      <dgm:t>
        <a:bodyPr/>
        <a:lstStyle/>
        <a:p>
          <a:pPr rtl="0"/>
          <a:r>
            <a:rPr lang="en-US" sz="2000" b="1">
              <a:solidFill>
                <a:srgbClr val="00597C"/>
              </a:solidFill>
              <a:latin typeface="Calibri"/>
              <a:cs typeface="Calibri"/>
            </a:rPr>
            <a:t>  Award Recalculation</a:t>
          </a:r>
        </a:p>
      </dgm:t>
    </dgm:pt>
    <dgm:pt modelId="{5F05EA25-7A25-4FD1-AD17-6573D9897464}" type="parTrans" cxnId="{4AD9447C-637D-442C-BA8D-CA0408996614}">
      <dgm:prSet/>
      <dgm:spPr/>
      <dgm:t>
        <a:bodyPr/>
        <a:lstStyle/>
        <a:p>
          <a:endParaRPr lang="en-US"/>
        </a:p>
      </dgm:t>
    </dgm:pt>
    <dgm:pt modelId="{064BD10B-BC39-4959-9843-D01343642689}" type="sibTrans" cxnId="{4AD9447C-637D-442C-BA8D-CA0408996614}">
      <dgm:prSet/>
      <dgm:spPr/>
      <dgm:t>
        <a:bodyPr/>
        <a:lstStyle/>
        <a:p>
          <a:endParaRPr lang="en-US"/>
        </a:p>
      </dgm:t>
    </dgm:pt>
    <dgm:pt modelId="{DD389B2B-8198-439D-8E5D-4C8EE1E961B5}">
      <dgm:prSet phldrT="[Text]" phldr="0"/>
      <dgm:spPr/>
      <dgm:t>
        <a:bodyPr/>
        <a:lstStyle/>
        <a:p>
          <a:pPr rtl="0"/>
          <a:r>
            <a:rPr lang="en-US" b="1">
              <a:solidFill>
                <a:srgbClr val="00597C"/>
              </a:solidFill>
              <a:latin typeface="Calibri"/>
              <a:cs typeface="Calibri"/>
            </a:rPr>
            <a:t> Year 6-10</a:t>
          </a:r>
        </a:p>
      </dgm:t>
    </dgm:pt>
    <dgm:pt modelId="{FB8B3C81-A53F-446F-B7CA-8EED7179F352}" type="parTrans" cxnId="{F7EFACA7-C38B-4C11-BD7A-E495E5256AD0}">
      <dgm:prSet/>
      <dgm:spPr/>
      <dgm:t>
        <a:bodyPr/>
        <a:lstStyle/>
        <a:p>
          <a:endParaRPr lang="en-US"/>
        </a:p>
      </dgm:t>
    </dgm:pt>
    <dgm:pt modelId="{7E338EA2-5EE9-4B5A-8915-5903B6F15D55}" type="sibTrans" cxnId="{F7EFACA7-C38B-4C11-BD7A-E495E5256AD0}">
      <dgm:prSet/>
      <dgm:spPr/>
      <dgm:t>
        <a:bodyPr/>
        <a:lstStyle/>
        <a:p>
          <a:endParaRPr lang="en-US"/>
        </a:p>
      </dgm:t>
    </dgm:pt>
    <dgm:pt modelId="{9D8C4DAF-307D-42A9-B25D-0B97953EA033}">
      <dgm:prSet phldrT="[Text]" phldr="0" custT="1"/>
      <dgm:spPr/>
      <dgm:t>
        <a:bodyPr/>
        <a:lstStyle/>
        <a:p>
          <a:pPr rtl="0">
            <a:buFont typeface="Wingdings" panose="05000000000000000000" pitchFamily="2" charset="2"/>
            <a:buChar char="Ø"/>
          </a:pPr>
          <a:r>
            <a:rPr lang="en-US" sz="1100" b="1">
              <a:solidFill>
                <a:srgbClr val="00597C"/>
              </a:solidFill>
              <a:latin typeface="Calibri"/>
              <a:cs typeface="Calibri"/>
            </a:rPr>
            <a:t>  </a:t>
          </a:r>
          <a:r>
            <a:rPr lang="en-US" sz="2000" b="1">
              <a:solidFill>
                <a:srgbClr val="00597C"/>
              </a:solidFill>
              <a:latin typeface="Calibri"/>
              <a:cs typeface="Calibri"/>
            </a:rPr>
            <a:t>80% Threshold</a:t>
          </a:r>
        </a:p>
      </dgm:t>
    </dgm:pt>
    <dgm:pt modelId="{FCFD735D-994E-401D-AB37-52779F969CC3}" type="parTrans" cxnId="{D1C840DA-DDF9-4360-8D7E-CCD31CB38CFB}">
      <dgm:prSet/>
      <dgm:spPr/>
      <dgm:t>
        <a:bodyPr/>
        <a:lstStyle/>
        <a:p>
          <a:endParaRPr lang="en-US"/>
        </a:p>
      </dgm:t>
    </dgm:pt>
    <dgm:pt modelId="{D9828F86-238B-48B6-AF97-3A0B1969C56C}" type="sibTrans" cxnId="{D1C840DA-DDF9-4360-8D7E-CCD31CB38CFB}">
      <dgm:prSet/>
      <dgm:spPr/>
      <dgm:t>
        <a:bodyPr/>
        <a:lstStyle/>
        <a:p>
          <a:endParaRPr lang="en-US"/>
        </a:p>
      </dgm:t>
    </dgm:pt>
    <dgm:pt modelId="{D25863C0-1A1A-4EFD-8210-C3F531BAA6F8}">
      <dgm:prSet phldr="0" custT="1"/>
      <dgm:spPr/>
      <dgm:t>
        <a:bodyPr/>
        <a:lstStyle/>
        <a:p>
          <a:pPr rtl="0">
            <a:buNone/>
          </a:pPr>
          <a:r>
            <a:rPr lang="en-US" sz="2000" b="1">
              <a:solidFill>
                <a:srgbClr val="00597C"/>
              </a:solidFill>
              <a:latin typeface="Calibri"/>
              <a:cs typeface="Calibri"/>
            </a:rPr>
            <a:t>  Awards based on Jobs and Capital Investment</a:t>
          </a:r>
        </a:p>
      </dgm:t>
    </dgm:pt>
    <dgm:pt modelId="{D0435DD8-2CA8-47FE-8868-EA95C30B669A}" type="parTrans" cxnId="{B6A1C728-796D-43AF-B7AF-0EF4C708A610}">
      <dgm:prSet/>
      <dgm:spPr/>
      <dgm:t>
        <a:bodyPr/>
        <a:lstStyle/>
        <a:p>
          <a:endParaRPr lang="en-US"/>
        </a:p>
      </dgm:t>
    </dgm:pt>
    <dgm:pt modelId="{46D617E6-4963-4FA4-86E9-C8D803E2C9DA}" type="sibTrans" cxnId="{B6A1C728-796D-43AF-B7AF-0EF4C708A610}">
      <dgm:prSet/>
      <dgm:spPr/>
      <dgm:t>
        <a:bodyPr/>
        <a:lstStyle/>
        <a:p>
          <a:endParaRPr lang="en-US"/>
        </a:p>
      </dgm:t>
    </dgm:pt>
    <dgm:pt modelId="{68222357-5F4E-43C0-B28A-783EE233025F}">
      <dgm:prSet phldr="0" custT="1"/>
      <dgm:spPr/>
      <dgm:t>
        <a:bodyPr/>
        <a:lstStyle/>
        <a:p>
          <a:pPr rtl="0"/>
          <a:r>
            <a:rPr lang="en-US" sz="2000" b="1">
              <a:solidFill>
                <a:srgbClr val="00597C"/>
              </a:solidFill>
              <a:latin typeface="Calibri"/>
              <a:cs typeface="Calibri"/>
            </a:rPr>
            <a:t>   80% Threshold</a:t>
          </a:r>
        </a:p>
      </dgm:t>
    </dgm:pt>
    <dgm:pt modelId="{85CD2E98-D5AE-47FB-98F4-12F9E22EBB69}" type="parTrans" cxnId="{80DB67C4-9D56-49E5-B899-DFC0FD72B4E9}">
      <dgm:prSet/>
      <dgm:spPr/>
      <dgm:t>
        <a:bodyPr/>
        <a:lstStyle/>
        <a:p>
          <a:endParaRPr lang="en-US"/>
        </a:p>
      </dgm:t>
    </dgm:pt>
    <dgm:pt modelId="{EECEA50E-4A32-46A1-933E-7FE79F5C7CB2}" type="sibTrans" cxnId="{80DB67C4-9D56-49E5-B899-DFC0FD72B4E9}">
      <dgm:prSet/>
      <dgm:spPr/>
      <dgm:t>
        <a:bodyPr/>
        <a:lstStyle/>
        <a:p>
          <a:endParaRPr lang="en-US"/>
        </a:p>
      </dgm:t>
    </dgm:pt>
    <dgm:pt modelId="{9D0F884F-DC98-45D5-AD12-674F185A8724}">
      <dgm:prSet phldr="0" custT="1"/>
      <dgm:spPr/>
      <dgm:t>
        <a:bodyPr/>
        <a:lstStyle/>
        <a:p>
          <a:pPr rtl="0"/>
          <a:r>
            <a:rPr lang="en-US" sz="2000" b="1">
              <a:solidFill>
                <a:srgbClr val="00597C"/>
              </a:solidFill>
              <a:latin typeface="Calibri"/>
              <a:cs typeface="Calibri"/>
            </a:rPr>
            <a:t>   Forfeiture</a:t>
          </a:r>
        </a:p>
      </dgm:t>
    </dgm:pt>
    <dgm:pt modelId="{226682EB-BABD-423B-9C9A-974773B5E8E2}" type="parTrans" cxnId="{1D24326C-137B-4A29-A1B5-866B5DAA2E3E}">
      <dgm:prSet/>
      <dgm:spPr/>
      <dgm:t>
        <a:bodyPr/>
        <a:lstStyle/>
        <a:p>
          <a:endParaRPr lang="en-US"/>
        </a:p>
      </dgm:t>
    </dgm:pt>
    <dgm:pt modelId="{0161E80E-9A17-4D1F-B5C5-04F110F23B61}" type="sibTrans" cxnId="{1D24326C-137B-4A29-A1B5-866B5DAA2E3E}">
      <dgm:prSet/>
      <dgm:spPr/>
      <dgm:t>
        <a:bodyPr/>
        <a:lstStyle/>
        <a:p>
          <a:endParaRPr lang="en-US"/>
        </a:p>
      </dgm:t>
    </dgm:pt>
    <dgm:pt modelId="{9FACF9B5-81CA-42D8-A2E6-C458B7019C97}">
      <dgm:prSet phldr="0" custT="1"/>
      <dgm:spPr/>
      <dgm:t>
        <a:bodyPr/>
        <a:lstStyle/>
        <a:p>
          <a:pPr rtl="0">
            <a:buFont typeface="Wingdings" panose="05000000000000000000" pitchFamily="2" charset="2"/>
            <a:buChar char="Ø"/>
          </a:pPr>
          <a:r>
            <a:rPr lang="en-US" sz="2000" b="1">
              <a:solidFill>
                <a:srgbClr val="00597C"/>
              </a:solidFill>
              <a:latin typeface="Calibri"/>
              <a:cs typeface="Calibri"/>
            </a:rPr>
            <a:t>  Recapture and Terminate</a:t>
          </a:r>
        </a:p>
      </dgm:t>
    </dgm:pt>
    <dgm:pt modelId="{F9E8EFC3-22A9-4BCC-B125-61A6040DE8A1}" type="parTrans" cxnId="{4670A983-2F86-41CF-B4F7-97A5F11EC5AB}">
      <dgm:prSet/>
      <dgm:spPr/>
      <dgm:t>
        <a:bodyPr/>
        <a:lstStyle/>
        <a:p>
          <a:endParaRPr lang="en-US"/>
        </a:p>
      </dgm:t>
    </dgm:pt>
    <dgm:pt modelId="{F268E97B-060D-44A1-BC67-F1C5335B4425}" type="sibTrans" cxnId="{4670A983-2F86-41CF-B4F7-97A5F11EC5AB}">
      <dgm:prSet/>
      <dgm:spPr/>
      <dgm:t>
        <a:bodyPr/>
        <a:lstStyle/>
        <a:p>
          <a:endParaRPr lang="en-US"/>
        </a:p>
      </dgm:t>
    </dgm:pt>
    <dgm:pt modelId="{EB4415A7-DE90-4F22-A4FF-B4B3AFCE8CCA}">
      <dgm:prSet phldr="0" custT="1"/>
      <dgm:spPr/>
      <dgm:t>
        <a:bodyPr/>
        <a:lstStyle/>
        <a:p>
          <a:pPr rtl="0">
            <a:buFont typeface="Wingdings" panose="05000000000000000000" pitchFamily="2" charset="2"/>
            <a:buChar char="Ø"/>
          </a:pPr>
          <a:r>
            <a:rPr lang="en-US" sz="2000" b="1">
              <a:solidFill>
                <a:srgbClr val="00597C"/>
              </a:solidFill>
              <a:latin typeface="Calibri"/>
              <a:cs typeface="Calibri"/>
            </a:rPr>
            <a:t>  Grace period</a:t>
          </a:r>
        </a:p>
      </dgm:t>
    </dgm:pt>
    <dgm:pt modelId="{A1679EA7-B5A9-437B-BFDC-C0A6CA7265BC}" type="parTrans" cxnId="{A38AA55C-A229-4ECD-91FD-4D8B384C96EB}">
      <dgm:prSet/>
      <dgm:spPr/>
      <dgm:t>
        <a:bodyPr/>
        <a:lstStyle/>
        <a:p>
          <a:endParaRPr lang="en-US"/>
        </a:p>
      </dgm:t>
    </dgm:pt>
    <dgm:pt modelId="{B14A1888-CA39-4D6C-8E29-AF9CA138BDE4}" type="sibTrans" cxnId="{A38AA55C-A229-4ECD-91FD-4D8B384C96EB}">
      <dgm:prSet/>
      <dgm:spPr/>
      <dgm:t>
        <a:bodyPr/>
        <a:lstStyle/>
        <a:p>
          <a:endParaRPr lang="en-US"/>
        </a:p>
      </dgm:t>
    </dgm:pt>
    <dgm:pt modelId="{3F60D25D-5939-4D0C-ADC4-B68C1D888965}">
      <dgm:prSet phldr="0" custT="1"/>
      <dgm:spPr/>
      <dgm:t>
        <a:bodyPr/>
        <a:lstStyle/>
        <a:p>
          <a:pPr>
            <a:buNone/>
          </a:pPr>
          <a:endParaRPr lang="en-US" sz="2000" b="1">
            <a:latin typeface="Calibri"/>
            <a:cs typeface="Calibri"/>
          </a:endParaRPr>
        </a:p>
      </dgm:t>
    </dgm:pt>
    <dgm:pt modelId="{E5E0D829-FA9F-45EA-856A-B55F8CD828D9}" type="parTrans" cxnId="{2369F5FB-5930-4E7C-A4DB-B43A79D8774B}">
      <dgm:prSet/>
      <dgm:spPr/>
      <dgm:t>
        <a:bodyPr/>
        <a:lstStyle/>
        <a:p>
          <a:endParaRPr lang="en-US"/>
        </a:p>
      </dgm:t>
    </dgm:pt>
    <dgm:pt modelId="{4BD1FDD4-C151-4DAF-A61C-6CAB8C50DC15}" type="sibTrans" cxnId="{2369F5FB-5930-4E7C-A4DB-B43A79D8774B}">
      <dgm:prSet/>
      <dgm:spPr/>
      <dgm:t>
        <a:bodyPr/>
        <a:lstStyle/>
        <a:p>
          <a:endParaRPr lang="en-US"/>
        </a:p>
      </dgm:t>
    </dgm:pt>
    <dgm:pt modelId="{D9136B3F-12EF-4F88-B71A-ABE5AF058ACB}">
      <dgm:prSet phldr="0" custT="1"/>
      <dgm:spPr/>
      <dgm:t>
        <a:bodyPr/>
        <a:lstStyle/>
        <a:p>
          <a:endParaRPr lang="en-US" sz="2000" b="1">
            <a:latin typeface="Calibri"/>
            <a:cs typeface="Calibri"/>
          </a:endParaRPr>
        </a:p>
      </dgm:t>
    </dgm:pt>
    <dgm:pt modelId="{6454B53A-C087-43AA-B099-13FC8FCF2277}" type="parTrans" cxnId="{1A3AF788-30A6-4824-8837-A9E863986B2F}">
      <dgm:prSet/>
      <dgm:spPr/>
      <dgm:t>
        <a:bodyPr/>
        <a:lstStyle/>
        <a:p>
          <a:endParaRPr lang="en-US"/>
        </a:p>
      </dgm:t>
    </dgm:pt>
    <dgm:pt modelId="{78B35D4E-61F8-41FD-A153-C012C4DF1A43}" type="sibTrans" cxnId="{1A3AF788-30A6-4824-8837-A9E863986B2F}">
      <dgm:prSet/>
      <dgm:spPr/>
      <dgm:t>
        <a:bodyPr/>
        <a:lstStyle/>
        <a:p>
          <a:endParaRPr lang="en-US"/>
        </a:p>
      </dgm:t>
    </dgm:pt>
    <dgm:pt modelId="{E28E9ED0-D8FE-4AD6-BD86-09E6EFB5CC02}">
      <dgm:prSet phldr="0" custT="1"/>
      <dgm:spPr/>
      <dgm:t>
        <a:bodyPr/>
        <a:lstStyle/>
        <a:p>
          <a:endParaRPr lang="en-US" sz="2000" b="1">
            <a:latin typeface="Calibri"/>
            <a:cs typeface="Calibri"/>
          </a:endParaRPr>
        </a:p>
      </dgm:t>
    </dgm:pt>
    <dgm:pt modelId="{94FBCE41-C540-4A83-B61D-C3D2A80DEF66}" type="parTrans" cxnId="{53EC40F8-DBF2-4355-A9BA-CDB62485D15A}">
      <dgm:prSet/>
      <dgm:spPr/>
      <dgm:t>
        <a:bodyPr/>
        <a:lstStyle/>
        <a:p>
          <a:endParaRPr lang="en-US"/>
        </a:p>
      </dgm:t>
    </dgm:pt>
    <dgm:pt modelId="{FCCE8846-8397-42C7-930E-E3A745933517}" type="sibTrans" cxnId="{53EC40F8-DBF2-4355-A9BA-CDB62485D15A}">
      <dgm:prSet/>
      <dgm:spPr/>
      <dgm:t>
        <a:bodyPr/>
        <a:lstStyle/>
        <a:p>
          <a:endParaRPr lang="en-US"/>
        </a:p>
      </dgm:t>
    </dgm:pt>
    <dgm:pt modelId="{4A24018B-7FE3-407B-84CE-8190FABCBB7B}">
      <dgm:prSet phldr="0" custT="1"/>
      <dgm:spPr/>
      <dgm:t>
        <a:bodyPr/>
        <a:lstStyle/>
        <a:p>
          <a:pPr>
            <a:buFont typeface="Wingdings" panose="05000000000000000000" pitchFamily="2" charset="2"/>
            <a:buChar char="Ø"/>
          </a:pPr>
          <a:endParaRPr lang="en-US" sz="2000" b="1">
            <a:latin typeface="Calibri"/>
            <a:cs typeface="Calibri"/>
          </a:endParaRPr>
        </a:p>
      </dgm:t>
    </dgm:pt>
    <dgm:pt modelId="{AD5E7A13-8165-4CAF-ADEF-BAB7BE80B439}" type="parTrans" cxnId="{C4C98267-C00E-4629-8481-DD0C28FD1603}">
      <dgm:prSet/>
      <dgm:spPr/>
      <dgm:t>
        <a:bodyPr/>
        <a:lstStyle/>
        <a:p>
          <a:endParaRPr lang="en-US"/>
        </a:p>
      </dgm:t>
    </dgm:pt>
    <dgm:pt modelId="{08156274-AD21-4F0C-8F6C-7279E942F643}" type="sibTrans" cxnId="{C4C98267-C00E-4629-8481-DD0C28FD1603}">
      <dgm:prSet/>
      <dgm:spPr/>
      <dgm:t>
        <a:bodyPr/>
        <a:lstStyle/>
        <a:p>
          <a:endParaRPr lang="en-US"/>
        </a:p>
      </dgm:t>
    </dgm:pt>
    <dgm:pt modelId="{EE37DF83-C730-4928-964C-15AC9BB53A90}">
      <dgm:prSet phldr="0" custT="1"/>
      <dgm:spPr/>
      <dgm:t>
        <a:bodyPr/>
        <a:lstStyle/>
        <a:p>
          <a:pPr>
            <a:buFont typeface="Wingdings" panose="05000000000000000000" pitchFamily="2" charset="2"/>
            <a:buChar char="Ø"/>
          </a:pPr>
          <a:endParaRPr lang="en-US" sz="2000" b="1">
            <a:latin typeface="Calibri"/>
            <a:cs typeface="Calibri"/>
          </a:endParaRPr>
        </a:p>
      </dgm:t>
    </dgm:pt>
    <dgm:pt modelId="{8A801CD2-E3EB-41F6-ADBC-68308F71A8AB}" type="parTrans" cxnId="{DB10515B-9187-44C4-9662-53864939824A}">
      <dgm:prSet/>
      <dgm:spPr/>
      <dgm:t>
        <a:bodyPr/>
        <a:lstStyle/>
        <a:p>
          <a:endParaRPr lang="en-US"/>
        </a:p>
      </dgm:t>
    </dgm:pt>
    <dgm:pt modelId="{9B132A32-74E8-4D47-9E3F-EF4A2FB9D484}" type="sibTrans" cxnId="{DB10515B-9187-44C4-9662-53864939824A}">
      <dgm:prSet/>
      <dgm:spPr/>
      <dgm:t>
        <a:bodyPr/>
        <a:lstStyle/>
        <a:p>
          <a:endParaRPr lang="en-US"/>
        </a:p>
      </dgm:t>
    </dgm:pt>
    <dgm:pt modelId="{6BA8DE8D-DF2C-45C3-B08F-7A9126B1740E}" type="pres">
      <dgm:prSet presAssocID="{8002C73F-B2C1-4FB5-8DA4-66169646256E}" presName="Name0" presStyleCnt="0">
        <dgm:presLayoutVars>
          <dgm:animLvl val="lvl"/>
          <dgm:resizeHandles val="exact"/>
        </dgm:presLayoutVars>
      </dgm:prSet>
      <dgm:spPr/>
    </dgm:pt>
    <dgm:pt modelId="{7D48EEDE-4ED4-452D-A6ED-1C1B630F2ED8}" type="pres">
      <dgm:prSet presAssocID="{2D338E4E-31AF-47C2-813C-5022656A7F89}" presName="composite" presStyleCnt="0"/>
      <dgm:spPr/>
    </dgm:pt>
    <dgm:pt modelId="{07305FB4-36E7-4EBD-82FA-04F31533278E}" type="pres">
      <dgm:prSet presAssocID="{2D338E4E-31AF-47C2-813C-5022656A7F89}" presName="L" presStyleLbl="solidFgAcc1" presStyleIdx="0" presStyleCnt="3">
        <dgm:presLayoutVars>
          <dgm:chMax val="0"/>
          <dgm:chPref val="0"/>
        </dgm:presLayoutVars>
      </dgm:prSet>
      <dgm:spPr/>
    </dgm:pt>
    <dgm:pt modelId="{7C13B973-82D3-405A-9C11-A2B1628840F9}" type="pres">
      <dgm:prSet presAssocID="{2D338E4E-31AF-47C2-813C-5022656A7F89}" presName="parTx" presStyleLbl="alignNode1" presStyleIdx="0" presStyleCnt="3">
        <dgm:presLayoutVars>
          <dgm:chMax val="0"/>
          <dgm:chPref val="0"/>
          <dgm:bulletEnabled val="1"/>
        </dgm:presLayoutVars>
      </dgm:prSet>
      <dgm:spPr/>
    </dgm:pt>
    <dgm:pt modelId="{2D4C4996-D9FA-4F5D-99B0-84F477123B6C}" type="pres">
      <dgm:prSet presAssocID="{2D338E4E-31AF-47C2-813C-5022656A7F89}" presName="desTx" presStyleLbl="revTx" presStyleIdx="0" presStyleCnt="3">
        <dgm:presLayoutVars>
          <dgm:chMax val="0"/>
          <dgm:chPref val="0"/>
          <dgm:bulletEnabled val="1"/>
        </dgm:presLayoutVars>
      </dgm:prSet>
      <dgm:spPr/>
    </dgm:pt>
    <dgm:pt modelId="{EA8C9E8A-5EFB-4DF7-853B-E17CB50CC5EF}" type="pres">
      <dgm:prSet presAssocID="{2D338E4E-31AF-47C2-813C-5022656A7F89}" presName="EmptyPlaceHolder" presStyleCnt="0"/>
      <dgm:spPr/>
    </dgm:pt>
    <dgm:pt modelId="{6F8128B1-D878-4C5B-8934-94BCBFAB1EF3}" type="pres">
      <dgm:prSet presAssocID="{ABBBC852-302D-457F-8ADA-C667E0F4F861}" presName="space" presStyleCnt="0"/>
      <dgm:spPr/>
    </dgm:pt>
    <dgm:pt modelId="{AC678AC2-AC37-4928-B5C3-08DE31706451}" type="pres">
      <dgm:prSet presAssocID="{EE3EA555-D95F-42DA-A296-3FBC77BB39EB}" presName="composite" presStyleCnt="0"/>
      <dgm:spPr/>
    </dgm:pt>
    <dgm:pt modelId="{673ACD46-A612-4546-90E6-D3AAEB80DC2B}" type="pres">
      <dgm:prSet presAssocID="{EE3EA555-D95F-42DA-A296-3FBC77BB39EB}" presName="L" presStyleLbl="solidFgAcc1" presStyleIdx="1" presStyleCnt="3">
        <dgm:presLayoutVars>
          <dgm:chMax val="0"/>
          <dgm:chPref val="0"/>
        </dgm:presLayoutVars>
      </dgm:prSet>
      <dgm:spPr/>
    </dgm:pt>
    <dgm:pt modelId="{D257BA06-1635-468F-A7A5-B355C9268036}" type="pres">
      <dgm:prSet presAssocID="{EE3EA555-D95F-42DA-A296-3FBC77BB39EB}" presName="parTx" presStyleLbl="alignNode1" presStyleIdx="1" presStyleCnt="3">
        <dgm:presLayoutVars>
          <dgm:chMax val="0"/>
          <dgm:chPref val="0"/>
          <dgm:bulletEnabled val="1"/>
        </dgm:presLayoutVars>
      </dgm:prSet>
      <dgm:spPr/>
    </dgm:pt>
    <dgm:pt modelId="{EABF1567-1DFE-472C-B5EC-0B5BF0130567}" type="pres">
      <dgm:prSet presAssocID="{EE3EA555-D95F-42DA-A296-3FBC77BB39EB}" presName="desTx" presStyleLbl="revTx" presStyleIdx="1" presStyleCnt="3">
        <dgm:presLayoutVars>
          <dgm:chMax val="0"/>
          <dgm:chPref val="0"/>
          <dgm:bulletEnabled val="1"/>
        </dgm:presLayoutVars>
      </dgm:prSet>
      <dgm:spPr/>
    </dgm:pt>
    <dgm:pt modelId="{EDAFDE01-1A8F-4AC5-8A2C-F6C40EE25788}" type="pres">
      <dgm:prSet presAssocID="{EE3EA555-D95F-42DA-A296-3FBC77BB39EB}" presName="EmptyPlaceHolder" presStyleCnt="0"/>
      <dgm:spPr/>
    </dgm:pt>
    <dgm:pt modelId="{9AAF1AB2-D07A-41B7-B164-71D8C2AEC2F2}" type="pres">
      <dgm:prSet presAssocID="{8D56DB7A-8318-4DFC-94D7-EC7010E17DE0}" presName="space" presStyleCnt="0"/>
      <dgm:spPr/>
    </dgm:pt>
    <dgm:pt modelId="{6EDCD076-A7C4-4CDC-8F30-7D3A7FE971F7}" type="pres">
      <dgm:prSet presAssocID="{DD389B2B-8198-439D-8E5D-4C8EE1E961B5}" presName="composite" presStyleCnt="0"/>
      <dgm:spPr/>
    </dgm:pt>
    <dgm:pt modelId="{6FD438A2-5760-434D-B378-7B98CD21CCF6}" type="pres">
      <dgm:prSet presAssocID="{DD389B2B-8198-439D-8E5D-4C8EE1E961B5}" presName="L" presStyleLbl="solidFgAcc1" presStyleIdx="2" presStyleCnt="3">
        <dgm:presLayoutVars>
          <dgm:chMax val="0"/>
          <dgm:chPref val="0"/>
        </dgm:presLayoutVars>
      </dgm:prSet>
      <dgm:spPr/>
    </dgm:pt>
    <dgm:pt modelId="{1E82300F-8FF6-4E85-A7E9-728D5FCFB7A1}" type="pres">
      <dgm:prSet presAssocID="{DD389B2B-8198-439D-8E5D-4C8EE1E961B5}" presName="parTx" presStyleLbl="alignNode1" presStyleIdx="2" presStyleCnt="3">
        <dgm:presLayoutVars>
          <dgm:chMax val="0"/>
          <dgm:chPref val="0"/>
          <dgm:bulletEnabled val="1"/>
        </dgm:presLayoutVars>
      </dgm:prSet>
      <dgm:spPr/>
    </dgm:pt>
    <dgm:pt modelId="{FD37FCAD-23B5-45F4-8ADA-1A3364EA1DB2}" type="pres">
      <dgm:prSet presAssocID="{DD389B2B-8198-439D-8E5D-4C8EE1E961B5}" presName="desTx" presStyleLbl="revTx" presStyleIdx="2" presStyleCnt="3">
        <dgm:presLayoutVars>
          <dgm:chMax val="0"/>
          <dgm:chPref val="0"/>
          <dgm:bulletEnabled val="1"/>
        </dgm:presLayoutVars>
      </dgm:prSet>
      <dgm:spPr/>
    </dgm:pt>
    <dgm:pt modelId="{48B68541-DBA5-4F5D-ADEB-C6462519DFAD}" type="pres">
      <dgm:prSet presAssocID="{DD389B2B-8198-439D-8E5D-4C8EE1E961B5}" presName="EmptyPlaceHolder" presStyleCnt="0"/>
      <dgm:spPr/>
    </dgm:pt>
  </dgm:ptLst>
  <dgm:cxnLst>
    <dgm:cxn modelId="{72C4A104-E638-42C2-A4C0-8D776D4952F3}" type="presOf" srcId="{FC3592AC-0728-42D9-9B35-EDF00986B125}" destId="{EABF1567-1DFE-472C-B5EC-0B5BF0130567}" srcOrd="0" destOrd="0" presId="urn:microsoft.com/office/officeart/2016/7/layout/AccentHomeChevronProcess"/>
    <dgm:cxn modelId="{DEE10C10-D00D-4EC5-B5EB-F6D39E8F0CE8}" type="presOf" srcId="{EB4415A7-DE90-4F22-A4FF-B4B3AFCE8CCA}" destId="{FD37FCAD-23B5-45F4-8ADA-1A3364EA1DB2}" srcOrd="0" destOrd="4" presId="urn:microsoft.com/office/officeart/2016/7/layout/AccentHomeChevronProcess"/>
    <dgm:cxn modelId="{B6A1C728-796D-43AF-B7AF-0EF4C708A610}" srcId="{2D338E4E-31AF-47C2-813C-5022656A7F89}" destId="{D25863C0-1A1A-4EFD-8210-C3F531BAA6F8}" srcOrd="2" destOrd="0" parTransId="{D0435DD8-2CA8-47FE-8868-EA95C30B669A}" sibTransId="{46D617E6-4963-4FA4-86E9-C8D803E2C9DA}"/>
    <dgm:cxn modelId="{B5151937-42CD-4590-BBBF-83A06B3A54C0}" srcId="{8002C73F-B2C1-4FB5-8DA4-66169646256E}" destId="{EE3EA555-D95F-42DA-A296-3FBC77BB39EB}" srcOrd="1" destOrd="0" parTransId="{FD4DB5D7-CEF0-43CB-9D0A-591613B68CD0}" sibTransId="{8D56DB7A-8318-4DFC-94D7-EC7010E17DE0}"/>
    <dgm:cxn modelId="{DB10515B-9187-44C4-9662-53864939824A}" srcId="{DD389B2B-8198-439D-8E5D-4C8EE1E961B5}" destId="{EE37DF83-C730-4928-964C-15AC9BB53A90}" srcOrd="3" destOrd="0" parTransId="{8A801CD2-E3EB-41F6-ADBC-68308F71A8AB}" sibTransId="{9B132A32-74E8-4D47-9E3F-EF4A2FB9D484}"/>
    <dgm:cxn modelId="{B79C575B-3D6F-4BF6-932A-D4B5F1592F76}" type="presOf" srcId="{8002C73F-B2C1-4FB5-8DA4-66169646256E}" destId="{6BA8DE8D-DF2C-45C3-B08F-7A9126B1740E}" srcOrd="0" destOrd="0" presId="urn:microsoft.com/office/officeart/2016/7/layout/AccentHomeChevronProcess"/>
    <dgm:cxn modelId="{A38AA55C-A229-4ECD-91FD-4D8B384C96EB}" srcId="{DD389B2B-8198-439D-8E5D-4C8EE1E961B5}" destId="{EB4415A7-DE90-4F22-A4FF-B4B3AFCE8CCA}" srcOrd="4" destOrd="0" parTransId="{A1679EA7-B5A9-437B-BFDC-C0A6CA7265BC}" sibTransId="{B14A1888-CA39-4D6C-8E29-AF9CA138BDE4}"/>
    <dgm:cxn modelId="{707E6663-D2B2-4BE5-8D2E-4DA6C4FC1534}" type="presOf" srcId="{D9136B3F-12EF-4F88-B71A-ABE5AF058ACB}" destId="{EABF1567-1DFE-472C-B5EC-0B5BF0130567}" srcOrd="0" destOrd="1" presId="urn:microsoft.com/office/officeart/2016/7/layout/AccentHomeChevronProcess"/>
    <dgm:cxn modelId="{C4C98267-C00E-4629-8481-DD0C28FD1603}" srcId="{DD389B2B-8198-439D-8E5D-4C8EE1E961B5}" destId="{4A24018B-7FE3-407B-84CE-8190FABCBB7B}" srcOrd="1" destOrd="0" parTransId="{AD5E7A13-8165-4CAF-ADEF-BAB7BE80B439}" sibTransId="{08156274-AD21-4F0C-8F6C-7279E942F643}"/>
    <dgm:cxn modelId="{1D24326C-137B-4A29-A1B5-866B5DAA2E3E}" srcId="{EE3EA555-D95F-42DA-A296-3FBC77BB39EB}" destId="{9D0F884F-DC98-45D5-AD12-674F185A8724}" srcOrd="4" destOrd="0" parTransId="{226682EB-BABD-423B-9C9A-974773B5E8E2}" sibTransId="{0161E80E-9A17-4D1F-B5C5-04F110F23B61}"/>
    <dgm:cxn modelId="{BC03D452-66AE-422C-B6D9-08D20B197DD9}" type="presOf" srcId="{EE3EA555-D95F-42DA-A296-3FBC77BB39EB}" destId="{D257BA06-1635-468F-A7A5-B355C9268036}" srcOrd="0" destOrd="0" presId="urn:microsoft.com/office/officeart/2016/7/layout/AccentHomeChevronProcess"/>
    <dgm:cxn modelId="{D4F17E75-3517-4C6D-8FDA-D1602FAC6E09}" type="presOf" srcId="{9FACF9B5-81CA-42D8-A2E6-C458B7019C97}" destId="{FD37FCAD-23B5-45F4-8ADA-1A3364EA1DB2}" srcOrd="0" destOrd="2" presId="urn:microsoft.com/office/officeart/2016/7/layout/AccentHomeChevronProcess"/>
    <dgm:cxn modelId="{4AD9447C-637D-442C-BA8D-CA0408996614}" srcId="{EE3EA555-D95F-42DA-A296-3FBC77BB39EB}" destId="{FC3592AC-0728-42D9-9B35-EDF00986B125}" srcOrd="0" destOrd="0" parTransId="{5F05EA25-7A25-4FD1-AD17-6573D9897464}" sibTransId="{064BD10B-BC39-4959-9843-D01343642689}"/>
    <dgm:cxn modelId="{4670A983-2F86-41CF-B4F7-97A5F11EC5AB}" srcId="{DD389B2B-8198-439D-8E5D-4C8EE1E961B5}" destId="{9FACF9B5-81CA-42D8-A2E6-C458B7019C97}" srcOrd="2" destOrd="0" parTransId="{F9E8EFC3-22A9-4BCC-B125-61A6040DE8A1}" sibTransId="{F268E97B-060D-44A1-BC67-F1C5335B4425}"/>
    <dgm:cxn modelId="{C0E02686-610D-4FF6-BB43-AF55524A8D6F}" type="presOf" srcId="{68222357-5F4E-43C0-B28A-783EE233025F}" destId="{EABF1567-1DFE-472C-B5EC-0B5BF0130567}" srcOrd="0" destOrd="2" presId="urn:microsoft.com/office/officeart/2016/7/layout/AccentHomeChevronProcess"/>
    <dgm:cxn modelId="{BAC76C88-3FE6-43D4-87B9-848AC7EE4A0B}" type="presOf" srcId="{3F60D25D-5939-4D0C-ADC4-B68C1D888965}" destId="{2D4C4996-D9FA-4F5D-99B0-84F477123B6C}" srcOrd="0" destOrd="1" presId="urn:microsoft.com/office/officeart/2016/7/layout/AccentHomeChevronProcess"/>
    <dgm:cxn modelId="{1A3AF788-30A6-4824-8837-A9E863986B2F}" srcId="{EE3EA555-D95F-42DA-A296-3FBC77BB39EB}" destId="{D9136B3F-12EF-4F88-B71A-ABE5AF058ACB}" srcOrd="1" destOrd="0" parTransId="{6454B53A-C087-43AA-B099-13FC8FCF2277}" sibTransId="{78B35D4E-61F8-41FD-A153-C012C4DF1A43}"/>
    <dgm:cxn modelId="{70C1BD89-BC82-4E31-AF43-F5C7CD9C171F}" srcId="{8002C73F-B2C1-4FB5-8DA4-66169646256E}" destId="{2D338E4E-31AF-47C2-813C-5022656A7F89}" srcOrd="0" destOrd="0" parTransId="{FF0ECE84-FAD3-486D-B35F-ED45400D7543}" sibTransId="{ABBBC852-302D-457F-8ADA-C667E0F4F861}"/>
    <dgm:cxn modelId="{0380D9A6-43BD-448A-A0B1-A06737E00F04}" type="presOf" srcId="{4A029C56-57DF-4EB7-AE3D-6F1E82111092}" destId="{2D4C4996-D9FA-4F5D-99B0-84F477123B6C}" srcOrd="0" destOrd="0" presId="urn:microsoft.com/office/officeart/2016/7/layout/AccentHomeChevronProcess"/>
    <dgm:cxn modelId="{F7EFACA7-C38B-4C11-BD7A-E495E5256AD0}" srcId="{8002C73F-B2C1-4FB5-8DA4-66169646256E}" destId="{DD389B2B-8198-439D-8E5D-4C8EE1E961B5}" srcOrd="2" destOrd="0" parTransId="{FB8B3C81-A53F-446F-B7CA-8EED7179F352}" sibTransId="{7E338EA2-5EE9-4B5A-8915-5903B6F15D55}"/>
    <dgm:cxn modelId="{2BA64CAD-EAF0-4EAF-B797-BA369911B263}" type="presOf" srcId="{4A24018B-7FE3-407B-84CE-8190FABCBB7B}" destId="{FD37FCAD-23B5-45F4-8ADA-1A3364EA1DB2}" srcOrd="0" destOrd="1" presId="urn:microsoft.com/office/officeart/2016/7/layout/AccentHomeChevronProcess"/>
    <dgm:cxn modelId="{03C943B8-4839-4E2F-8755-ADA91FF7E7D5}" type="presOf" srcId="{9D0F884F-DC98-45D5-AD12-674F185A8724}" destId="{EABF1567-1DFE-472C-B5EC-0B5BF0130567}" srcOrd="0" destOrd="4" presId="urn:microsoft.com/office/officeart/2016/7/layout/AccentHomeChevronProcess"/>
    <dgm:cxn modelId="{88C13DBB-75D5-4E11-9364-228E1D4D54A8}" type="presOf" srcId="{2D338E4E-31AF-47C2-813C-5022656A7F89}" destId="{7C13B973-82D3-405A-9C11-A2B1628840F9}" srcOrd="0" destOrd="0" presId="urn:microsoft.com/office/officeart/2016/7/layout/AccentHomeChevronProcess"/>
    <dgm:cxn modelId="{80DB67C4-9D56-49E5-B899-DFC0FD72B4E9}" srcId="{EE3EA555-D95F-42DA-A296-3FBC77BB39EB}" destId="{68222357-5F4E-43C0-B28A-783EE233025F}" srcOrd="2" destOrd="0" parTransId="{85CD2E98-D5AE-47FB-98F4-12F9E22EBB69}" sibTransId="{EECEA50E-4A32-46A1-933E-7FE79F5C7CB2}"/>
    <dgm:cxn modelId="{D199F9C5-0537-43A4-97AC-59EA9F618AE3}" type="presOf" srcId="{E28E9ED0-D8FE-4AD6-BD86-09E6EFB5CC02}" destId="{EABF1567-1DFE-472C-B5EC-0B5BF0130567}" srcOrd="0" destOrd="3" presId="urn:microsoft.com/office/officeart/2016/7/layout/AccentHomeChevronProcess"/>
    <dgm:cxn modelId="{38A02ECD-C10B-46A6-904F-513D2B94D1CC}" type="presOf" srcId="{DD389B2B-8198-439D-8E5D-4C8EE1E961B5}" destId="{1E82300F-8FF6-4E85-A7E9-728D5FCFB7A1}" srcOrd="0" destOrd="0" presId="urn:microsoft.com/office/officeart/2016/7/layout/AccentHomeChevronProcess"/>
    <dgm:cxn modelId="{7FA1ACCE-E84A-492D-989E-319A1A82433F}" type="presOf" srcId="{9D8C4DAF-307D-42A9-B25D-0B97953EA033}" destId="{FD37FCAD-23B5-45F4-8ADA-1A3364EA1DB2}" srcOrd="0" destOrd="0" presId="urn:microsoft.com/office/officeart/2016/7/layout/AccentHomeChevronProcess"/>
    <dgm:cxn modelId="{D1C840DA-DDF9-4360-8D7E-CCD31CB38CFB}" srcId="{DD389B2B-8198-439D-8E5D-4C8EE1E961B5}" destId="{9D8C4DAF-307D-42A9-B25D-0B97953EA033}" srcOrd="0" destOrd="0" parTransId="{FCFD735D-994E-401D-AB37-52779F969CC3}" sibTransId="{D9828F86-238B-48B6-AF97-3A0B1969C56C}"/>
    <dgm:cxn modelId="{A423C7DD-683C-4B27-85D3-3614461E3881}" srcId="{2D338E4E-31AF-47C2-813C-5022656A7F89}" destId="{4A029C56-57DF-4EB7-AE3D-6F1E82111092}" srcOrd="0" destOrd="0" parTransId="{518DA3CA-604B-4F56-84FC-D910CBF0AC2A}" sibTransId="{333C80B6-0EBC-455E-92C7-2476BF7EC031}"/>
    <dgm:cxn modelId="{53EC40F8-DBF2-4355-A9BA-CDB62485D15A}" srcId="{EE3EA555-D95F-42DA-A296-3FBC77BB39EB}" destId="{E28E9ED0-D8FE-4AD6-BD86-09E6EFB5CC02}" srcOrd="3" destOrd="0" parTransId="{94FBCE41-C540-4A83-B61D-C3D2A80DEF66}" sibTransId="{FCCE8846-8397-42C7-930E-E3A745933517}"/>
    <dgm:cxn modelId="{2369F5FB-5930-4E7C-A4DB-B43A79D8774B}" srcId="{2D338E4E-31AF-47C2-813C-5022656A7F89}" destId="{3F60D25D-5939-4D0C-ADC4-B68C1D888965}" srcOrd="1" destOrd="0" parTransId="{E5E0D829-FA9F-45EA-856A-B55F8CD828D9}" sibTransId="{4BD1FDD4-C151-4DAF-A61C-6CAB8C50DC15}"/>
    <dgm:cxn modelId="{8B27F8FB-14AF-4513-8917-4E2851736183}" type="presOf" srcId="{D25863C0-1A1A-4EFD-8210-C3F531BAA6F8}" destId="{2D4C4996-D9FA-4F5D-99B0-84F477123B6C}" srcOrd="0" destOrd="2" presId="urn:microsoft.com/office/officeart/2016/7/layout/AccentHomeChevronProcess"/>
    <dgm:cxn modelId="{403EECFC-05C1-4EA1-B8ED-6590EFB826BB}" type="presOf" srcId="{EE37DF83-C730-4928-964C-15AC9BB53A90}" destId="{FD37FCAD-23B5-45F4-8ADA-1A3364EA1DB2}" srcOrd="0" destOrd="3" presId="urn:microsoft.com/office/officeart/2016/7/layout/AccentHomeChevronProcess"/>
    <dgm:cxn modelId="{8A4E9CF1-AC08-4DCE-AA2A-E5F00217B05E}" type="presParOf" srcId="{6BA8DE8D-DF2C-45C3-B08F-7A9126B1740E}" destId="{7D48EEDE-4ED4-452D-A6ED-1C1B630F2ED8}" srcOrd="0" destOrd="0" presId="urn:microsoft.com/office/officeart/2016/7/layout/AccentHomeChevronProcess"/>
    <dgm:cxn modelId="{80651566-4C56-491F-99B1-28DEC2866E76}" type="presParOf" srcId="{7D48EEDE-4ED4-452D-A6ED-1C1B630F2ED8}" destId="{07305FB4-36E7-4EBD-82FA-04F31533278E}" srcOrd="0" destOrd="0" presId="urn:microsoft.com/office/officeart/2016/7/layout/AccentHomeChevronProcess"/>
    <dgm:cxn modelId="{75C8A0C8-F82B-4AB6-A625-89FB45B27568}" type="presParOf" srcId="{7D48EEDE-4ED4-452D-A6ED-1C1B630F2ED8}" destId="{7C13B973-82D3-405A-9C11-A2B1628840F9}" srcOrd="1" destOrd="0" presId="urn:microsoft.com/office/officeart/2016/7/layout/AccentHomeChevronProcess"/>
    <dgm:cxn modelId="{03EDAE69-D5B0-462E-85FE-EFE906729841}" type="presParOf" srcId="{7D48EEDE-4ED4-452D-A6ED-1C1B630F2ED8}" destId="{2D4C4996-D9FA-4F5D-99B0-84F477123B6C}" srcOrd="2" destOrd="0" presId="urn:microsoft.com/office/officeart/2016/7/layout/AccentHomeChevronProcess"/>
    <dgm:cxn modelId="{CA70D25A-2A30-41CA-B697-6AEEBF40901A}" type="presParOf" srcId="{7D48EEDE-4ED4-452D-A6ED-1C1B630F2ED8}" destId="{EA8C9E8A-5EFB-4DF7-853B-E17CB50CC5EF}" srcOrd="3" destOrd="0" presId="urn:microsoft.com/office/officeart/2016/7/layout/AccentHomeChevronProcess"/>
    <dgm:cxn modelId="{E7F85A42-8BAD-476B-96CF-0098B39D8CBB}" type="presParOf" srcId="{6BA8DE8D-DF2C-45C3-B08F-7A9126B1740E}" destId="{6F8128B1-D878-4C5B-8934-94BCBFAB1EF3}" srcOrd="1" destOrd="0" presId="urn:microsoft.com/office/officeart/2016/7/layout/AccentHomeChevronProcess"/>
    <dgm:cxn modelId="{F61FB46B-2214-4FC5-9BC3-A459E4DF39A4}" type="presParOf" srcId="{6BA8DE8D-DF2C-45C3-B08F-7A9126B1740E}" destId="{AC678AC2-AC37-4928-B5C3-08DE31706451}" srcOrd="2" destOrd="0" presId="urn:microsoft.com/office/officeart/2016/7/layout/AccentHomeChevronProcess"/>
    <dgm:cxn modelId="{14AEBEA5-1652-4455-B2B4-FB0FEA63FB5D}" type="presParOf" srcId="{AC678AC2-AC37-4928-B5C3-08DE31706451}" destId="{673ACD46-A612-4546-90E6-D3AAEB80DC2B}" srcOrd="0" destOrd="0" presId="urn:microsoft.com/office/officeart/2016/7/layout/AccentHomeChevronProcess"/>
    <dgm:cxn modelId="{37AAD12C-0E98-47B6-945D-3534A20EAF14}" type="presParOf" srcId="{AC678AC2-AC37-4928-B5C3-08DE31706451}" destId="{D257BA06-1635-468F-A7A5-B355C9268036}" srcOrd="1" destOrd="0" presId="urn:microsoft.com/office/officeart/2016/7/layout/AccentHomeChevronProcess"/>
    <dgm:cxn modelId="{5B21F53F-98C7-4EDA-9D24-A99E65EA8428}" type="presParOf" srcId="{AC678AC2-AC37-4928-B5C3-08DE31706451}" destId="{EABF1567-1DFE-472C-B5EC-0B5BF0130567}" srcOrd="2" destOrd="0" presId="urn:microsoft.com/office/officeart/2016/7/layout/AccentHomeChevronProcess"/>
    <dgm:cxn modelId="{F9EFF32D-0698-40E7-80DD-2B428A1DF88B}" type="presParOf" srcId="{AC678AC2-AC37-4928-B5C3-08DE31706451}" destId="{EDAFDE01-1A8F-4AC5-8A2C-F6C40EE25788}" srcOrd="3" destOrd="0" presId="urn:microsoft.com/office/officeart/2016/7/layout/AccentHomeChevronProcess"/>
    <dgm:cxn modelId="{2FA106F1-3D8F-4356-BDF4-C5BB4CF600F7}" type="presParOf" srcId="{6BA8DE8D-DF2C-45C3-B08F-7A9126B1740E}" destId="{9AAF1AB2-D07A-41B7-B164-71D8C2AEC2F2}" srcOrd="3" destOrd="0" presId="urn:microsoft.com/office/officeart/2016/7/layout/AccentHomeChevronProcess"/>
    <dgm:cxn modelId="{07D5C6BA-CDA0-47EB-AC5E-C4AB9B9C7363}" type="presParOf" srcId="{6BA8DE8D-DF2C-45C3-B08F-7A9126B1740E}" destId="{6EDCD076-A7C4-4CDC-8F30-7D3A7FE971F7}" srcOrd="4" destOrd="0" presId="urn:microsoft.com/office/officeart/2016/7/layout/AccentHomeChevronProcess"/>
    <dgm:cxn modelId="{2C70CCC9-1F94-449E-AA2F-D52CD8AABE2E}" type="presParOf" srcId="{6EDCD076-A7C4-4CDC-8F30-7D3A7FE971F7}" destId="{6FD438A2-5760-434D-B378-7B98CD21CCF6}" srcOrd="0" destOrd="0" presId="urn:microsoft.com/office/officeart/2016/7/layout/AccentHomeChevronProcess"/>
    <dgm:cxn modelId="{1893E221-B351-4B2B-AF2A-4D68155DF484}" type="presParOf" srcId="{6EDCD076-A7C4-4CDC-8F30-7D3A7FE971F7}" destId="{1E82300F-8FF6-4E85-A7E9-728D5FCFB7A1}" srcOrd="1" destOrd="0" presId="urn:microsoft.com/office/officeart/2016/7/layout/AccentHomeChevronProcess"/>
    <dgm:cxn modelId="{70A1A413-7975-4E32-9A9C-768947A41B6B}" type="presParOf" srcId="{6EDCD076-A7C4-4CDC-8F30-7D3A7FE971F7}" destId="{FD37FCAD-23B5-45F4-8ADA-1A3364EA1DB2}" srcOrd="2" destOrd="0" presId="urn:microsoft.com/office/officeart/2016/7/layout/AccentHomeChevronProcess"/>
    <dgm:cxn modelId="{0B5E81C2-0A6A-4A20-9C1D-7E6DFD985FE3}" type="presParOf" srcId="{6EDCD076-A7C4-4CDC-8F30-7D3A7FE971F7}" destId="{48B68541-DBA5-4F5D-ADEB-C6462519DFAD}" srcOrd="3" destOrd="0" presId="urn:microsoft.com/office/officeart/2016/7/layout/AccentHomeChevro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A64B63-3267-4BBE-A588-3FF73A90DBCE}"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39A82638-7435-49CC-86A6-7138DE0ECD15}">
      <dgm:prSet custT="1"/>
      <dgm:spPr/>
      <dgm:t>
        <a:bodyPr/>
        <a:lstStyle/>
        <a:p>
          <a:r>
            <a:rPr lang="en-US" sz="1300">
              <a:latin typeface="Calibri"/>
              <a:cs typeface="Calibri"/>
            </a:rPr>
            <a:t>The Next NJ Program-AI presents an exciting opportunity for businesses looking to grow or establish themselves in a state dedicated to innovation and economic expansion.</a:t>
          </a:r>
        </a:p>
      </dgm:t>
    </dgm:pt>
    <dgm:pt modelId="{125369CE-525C-4DE9-9F1B-92D27AE6A957}" type="parTrans" cxnId="{F15EEAEC-5610-4957-87D2-03A96B2D31B2}">
      <dgm:prSet/>
      <dgm:spPr/>
      <dgm:t>
        <a:bodyPr/>
        <a:lstStyle/>
        <a:p>
          <a:endParaRPr lang="en-US"/>
        </a:p>
      </dgm:t>
    </dgm:pt>
    <dgm:pt modelId="{CD0264B3-FD6D-4FAC-8580-159C589CDFCF}" type="sibTrans" cxnId="{F15EEAEC-5610-4957-87D2-03A96B2D31B2}">
      <dgm:prSet/>
      <dgm:spPr/>
      <dgm:t>
        <a:bodyPr/>
        <a:lstStyle/>
        <a:p>
          <a:endParaRPr lang="en-US"/>
        </a:p>
      </dgm:t>
    </dgm:pt>
    <dgm:pt modelId="{E93E47FA-13AA-4E52-9AE2-B9E56068B938}">
      <dgm:prSet custT="1"/>
      <dgm:spPr/>
      <dgm:t>
        <a:bodyPr/>
        <a:lstStyle/>
        <a:p>
          <a:r>
            <a:rPr lang="en-US" sz="1400">
              <a:latin typeface="Calibri"/>
              <a:cs typeface="Calibri"/>
            </a:rPr>
            <a:t>It's a mutually beneficial arrangement, drawing substantial investments to New Jersey and promoting sustained job growth. </a:t>
          </a:r>
        </a:p>
      </dgm:t>
    </dgm:pt>
    <dgm:pt modelId="{5A5D442C-2BFE-40DF-8309-77FBBB069DB0}" type="parTrans" cxnId="{BF906D8E-9640-496D-8457-DD8E5F280CB8}">
      <dgm:prSet/>
      <dgm:spPr/>
      <dgm:t>
        <a:bodyPr/>
        <a:lstStyle/>
        <a:p>
          <a:endParaRPr lang="en-US"/>
        </a:p>
      </dgm:t>
    </dgm:pt>
    <dgm:pt modelId="{B942A884-E44A-454C-B388-4B0C86A6C3EE}" type="sibTrans" cxnId="{BF906D8E-9640-496D-8457-DD8E5F280CB8}">
      <dgm:prSet/>
      <dgm:spPr/>
      <dgm:t>
        <a:bodyPr/>
        <a:lstStyle/>
        <a:p>
          <a:endParaRPr lang="en-US"/>
        </a:p>
      </dgm:t>
    </dgm:pt>
    <dgm:pt modelId="{ACDBFD11-8DC5-47BE-9D36-87C3941C210C}">
      <dgm:prSet/>
      <dgm:spPr/>
      <dgm:t>
        <a:bodyPr/>
        <a:lstStyle/>
        <a:p>
          <a:pPr rtl="0"/>
          <a:r>
            <a:rPr lang="en-US" baseline="0">
              <a:latin typeface="Calibri"/>
              <a:cs typeface="Calibri"/>
            </a:rPr>
            <a:t>The Next NJ Program-AI will </a:t>
          </a:r>
          <a:r>
            <a:rPr lang="en-US">
              <a:latin typeface="Calibri"/>
              <a:cs typeface="Calibri"/>
            </a:rPr>
            <a:t>reinforce New Jersey's status as a frontrunner in the innovation economy. </a:t>
          </a:r>
        </a:p>
      </dgm:t>
    </dgm:pt>
    <dgm:pt modelId="{8351C3DB-D904-42C2-8A14-48F49E3256ED}" type="parTrans" cxnId="{5D2C2131-D581-45FC-A60C-BB2CA9F2E0A2}">
      <dgm:prSet/>
      <dgm:spPr/>
      <dgm:t>
        <a:bodyPr/>
        <a:lstStyle/>
        <a:p>
          <a:endParaRPr lang="en-US"/>
        </a:p>
      </dgm:t>
    </dgm:pt>
    <dgm:pt modelId="{8B1F35C4-1C70-4B74-A526-ABD324381A02}" type="sibTrans" cxnId="{5D2C2131-D581-45FC-A60C-BB2CA9F2E0A2}">
      <dgm:prSet/>
      <dgm:spPr/>
      <dgm:t>
        <a:bodyPr/>
        <a:lstStyle/>
        <a:p>
          <a:endParaRPr lang="en-US"/>
        </a:p>
      </dgm:t>
    </dgm:pt>
    <dgm:pt modelId="{A0494E86-B4D2-4053-91B6-EAE29787A950}" type="pres">
      <dgm:prSet presAssocID="{F4A64B63-3267-4BBE-A588-3FF73A90DBCE}" presName="diagram" presStyleCnt="0">
        <dgm:presLayoutVars>
          <dgm:dir/>
          <dgm:resizeHandles val="exact"/>
        </dgm:presLayoutVars>
      </dgm:prSet>
      <dgm:spPr/>
    </dgm:pt>
    <dgm:pt modelId="{01282780-708C-4C8B-8CA9-DEC65CD066A0}" type="pres">
      <dgm:prSet presAssocID="{39A82638-7435-49CC-86A6-7138DE0ECD15}" presName="arrow" presStyleLbl="node1" presStyleIdx="0" presStyleCnt="3" custScaleX="130881" custScaleY="105246">
        <dgm:presLayoutVars>
          <dgm:bulletEnabled val="1"/>
        </dgm:presLayoutVars>
      </dgm:prSet>
      <dgm:spPr/>
    </dgm:pt>
    <dgm:pt modelId="{D95406A9-4F02-4CCD-B30B-3EA27823815A}" type="pres">
      <dgm:prSet presAssocID="{E93E47FA-13AA-4E52-9AE2-B9E56068B938}" presName="arrow" presStyleLbl="node1" presStyleIdx="1" presStyleCnt="3" custScaleX="91364" custScaleY="115730">
        <dgm:presLayoutVars>
          <dgm:bulletEnabled val="1"/>
        </dgm:presLayoutVars>
      </dgm:prSet>
      <dgm:spPr/>
    </dgm:pt>
    <dgm:pt modelId="{36990370-0397-455F-9418-1C9F1E763224}" type="pres">
      <dgm:prSet presAssocID="{ACDBFD11-8DC5-47BE-9D36-87C3941C210C}" presName="arrow" presStyleLbl="node1" presStyleIdx="2" presStyleCnt="3" custScaleY="114302">
        <dgm:presLayoutVars>
          <dgm:bulletEnabled val="1"/>
        </dgm:presLayoutVars>
      </dgm:prSet>
      <dgm:spPr/>
    </dgm:pt>
  </dgm:ptLst>
  <dgm:cxnLst>
    <dgm:cxn modelId="{5D2C2131-D581-45FC-A60C-BB2CA9F2E0A2}" srcId="{F4A64B63-3267-4BBE-A588-3FF73A90DBCE}" destId="{ACDBFD11-8DC5-47BE-9D36-87C3941C210C}" srcOrd="2" destOrd="0" parTransId="{8351C3DB-D904-42C2-8A14-48F49E3256ED}" sibTransId="{8B1F35C4-1C70-4B74-A526-ABD324381A02}"/>
    <dgm:cxn modelId="{BF906D8E-9640-496D-8457-DD8E5F280CB8}" srcId="{F4A64B63-3267-4BBE-A588-3FF73A90DBCE}" destId="{E93E47FA-13AA-4E52-9AE2-B9E56068B938}" srcOrd="1" destOrd="0" parTransId="{5A5D442C-2BFE-40DF-8309-77FBBB069DB0}" sibTransId="{B942A884-E44A-454C-B388-4B0C86A6C3EE}"/>
    <dgm:cxn modelId="{E2BF52C0-E6DC-4317-BD52-1A22916D1223}" type="presOf" srcId="{E93E47FA-13AA-4E52-9AE2-B9E56068B938}" destId="{D95406A9-4F02-4CCD-B30B-3EA27823815A}" srcOrd="0" destOrd="0" presId="urn:microsoft.com/office/officeart/2005/8/layout/arrow5"/>
    <dgm:cxn modelId="{A60952DB-2FFA-46A6-92F3-79AD9EC65E9F}" type="presOf" srcId="{ACDBFD11-8DC5-47BE-9D36-87C3941C210C}" destId="{36990370-0397-455F-9418-1C9F1E763224}" srcOrd="0" destOrd="0" presId="urn:microsoft.com/office/officeart/2005/8/layout/arrow5"/>
    <dgm:cxn modelId="{E1167CDC-B187-4ABA-AEA9-9C7BD88255B3}" type="presOf" srcId="{39A82638-7435-49CC-86A6-7138DE0ECD15}" destId="{01282780-708C-4C8B-8CA9-DEC65CD066A0}" srcOrd="0" destOrd="0" presId="urn:microsoft.com/office/officeart/2005/8/layout/arrow5"/>
    <dgm:cxn modelId="{CF1CECE3-E466-4FD6-864F-091F242BF8A6}" type="presOf" srcId="{F4A64B63-3267-4BBE-A588-3FF73A90DBCE}" destId="{A0494E86-B4D2-4053-91B6-EAE29787A950}" srcOrd="0" destOrd="0" presId="urn:microsoft.com/office/officeart/2005/8/layout/arrow5"/>
    <dgm:cxn modelId="{F15EEAEC-5610-4957-87D2-03A96B2D31B2}" srcId="{F4A64B63-3267-4BBE-A588-3FF73A90DBCE}" destId="{39A82638-7435-49CC-86A6-7138DE0ECD15}" srcOrd="0" destOrd="0" parTransId="{125369CE-525C-4DE9-9F1B-92D27AE6A957}" sibTransId="{CD0264B3-FD6D-4FAC-8580-159C589CDFCF}"/>
    <dgm:cxn modelId="{B0D68935-7701-4CCB-9CC2-A0BB2A202E32}" type="presParOf" srcId="{A0494E86-B4D2-4053-91B6-EAE29787A950}" destId="{01282780-708C-4C8B-8CA9-DEC65CD066A0}" srcOrd="0" destOrd="0" presId="urn:microsoft.com/office/officeart/2005/8/layout/arrow5"/>
    <dgm:cxn modelId="{2EFF843B-E0C9-4AB5-8D05-2D84A911A16B}" type="presParOf" srcId="{A0494E86-B4D2-4053-91B6-EAE29787A950}" destId="{D95406A9-4F02-4CCD-B30B-3EA27823815A}" srcOrd="1" destOrd="0" presId="urn:microsoft.com/office/officeart/2005/8/layout/arrow5"/>
    <dgm:cxn modelId="{2CBDA84E-A43D-4313-A241-FB88BAD94CA9}" type="presParOf" srcId="{A0494E86-B4D2-4053-91B6-EAE29787A950}" destId="{36990370-0397-455F-9418-1C9F1E763224}" srcOrd="2" destOrd="0" presId="urn:microsoft.com/office/officeart/2005/8/layout/arrow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D8FBD4-F07A-48B9-8364-35EAD5634CAB}">
      <dsp:nvSpPr>
        <dsp:cNvPr id="0" name=""/>
        <dsp:cNvSpPr/>
      </dsp:nvSpPr>
      <dsp:spPr>
        <a:xfrm>
          <a:off x="0" y="556"/>
          <a:ext cx="9630084" cy="13022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4EB9F8-8078-4DFF-BE98-6360A7A5660C}">
      <dsp:nvSpPr>
        <dsp:cNvPr id="0" name=""/>
        <dsp:cNvSpPr/>
      </dsp:nvSpPr>
      <dsp:spPr>
        <a:xfrm>
          <a:off x="393926" y="293559"/>
          <a:ext cx="716230" cy="71623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4A303E-900F-48CD-91D9-7BB4AA7852E0}">
      <dsp:nvSpPr>
        <dsp:cNvPr id="0" name=""/>
        <dsp:cNvSpPr/>
      </dsp:nvSpPr>
      <dsp:spPr>
        <a:xfrm>
          <a:off x="1504084" y="556"/>
          <a:ext cx="8125999" cy="1302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20" tIns="137820" rIns="137820" bIns="137820" numCol="1" spcCol="1270" anchor="ctr" anchorCtr="0">
          <a:noAutofit/>
        </a:bodyPr>
        <a:lstStyle/>
        <a:p>
          <a:pPr marL="0" lvl="0" indent="0" algn="l" defTabSz="889000">
            <a:lnSpc>
              <a:spcPct val="100000"/>
            </a:lnSpc>
            <a:spcBef>
              <a:spcPct val="0"/>
            </a:spcBef>
            <a:spcAft>
              <a:spcPct val="35000"/>
            </a:spcAft>
            <a:buNone/>
          </a:pPr>
          <a:r>
            <a:rPr lang="en-US" sz="2000" b="1" u="none" kern="1200">
              <a:solidFill>
                <a:schemeClr val="accent4"/>
              </a:solidFill>
              <a:effectLst/>
              <a:latin typeface="Calibri"/>
              <a:ea typeface="Times New Roman" panose="02020603050405020304" pitchFamily="18" charset="0"/>
              <a:cs typeface="Calibri"/>
            </a:rPr>
            <a:t>Long-Term Commitment: Awarded tax credits will be issued over a five-year period, providing ongoing benefits for both businesses and the state.</a:t>
          </a:r>
          <a:endParaRPr lang="en-US" sz="2000" b="1" u="none" kern="1200">
            <a:ln>
              <a:noFill/>
            </a:ln>
            <a:solidFill>
              <a:schemeClr val="accent4"/>
            </a:solidFill>
            <a:latin typeface="Calibri"/>
            <a:cs typeface="Calibri"/>
          </a:endParaRPr>
        </a:p>
      </dsp:txBody>
      <dsp:txXfrm>
        <a:off x="1504084" y="556"/>
        <a:ext cx="8125999" cy="1302237"/>
      </dsp:txXfrm>
    </dsp:sp>
    <dsp:sp modelId="{5F5DA034-7CF0-42EC-BD74-1A2E63F66349}">
      <dsp:nvSpPr>
        <dsp:cNvPr id="0" name=""/>
        <dsp:cNvSpPr/>
      </dsp:nvSpPr>
      <dsp:spPr>
        <a:xfrm>
          <a:off x="0" y="1628353"/>
          <a:ext cx="9630084" cy="13022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5E6B25-EBAD-4348-BC96-53E9DFCB3308}">
      <dsp:nvSpPr>
        <dsp:cNvPr id="0" name=""/>
        <dsp:cNvSpPr/>
      </dsp:nvSpPr>
      <dsp:spPr>
        <a:xfrm>
          <a:off x="393926" y="1921357"/>
          <a:ext cx="716230" cy="71623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DC8F7D-006C-4385-AA4D-6CF18A3721C0}">
      <dsp:nvSpPr>
        <dsp:cNvPr id="0" name=""/>
        <dsp:cNvSpPr/>
      </dsp:nvSpPr>
      <dsp:spPr>
        <a:xfrm>
          <a:off x="1504084" y="1628353"/>
          <a:ext cx="8125999" cy="1302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20" tIns="137820" rIns="137820" bIns="137820" numCol="1" spcCol="1270" anchor="ctr" anchorCtr="0">
          <a:noAutofit/>
        </a:bodyPr>
        <a:lstStyle/>
        <a:p>
          <a:pPr marL="0" lvl="0" indent="0" algn="l" defTabSz="889000">
            <a:lnSpc>
              <a:spcPct val="100000"/>
            </a:lnSpc>
            <a:spcBef>
              <a:spcPct val="0"/>
            </a:spcBef>
            <a:spcAft>
              <a:spcPct val="35000"/>
            </a:spcAft>
            <a:buNone/>
          </a:pPr>
          <a:r>
            <a:rPr lang="en-US" sz="2000" b="1" u="none" kern="1200" baseline="0">
              <a:solidFill>
                <a:schemeClr val="accent4"/>
              </a:solidFill>
              <a:effectLst/>
              <a:latin typeface="Calibri"/>
              <a:ea typeface="Times New Roman" panose="02020603050405020304" pitchFamily="18" charset="0"/>
              <a:cs typeface="Calibri"/>
            </a:rPr>
            <a:t>Awardees must create and maintain jobs in New Jersey for 10 years. The credits are transferable and include a 10-year carryforward option.</a:t>
          </a:r>
          <a:endParaRPr lang="en-US" sz="2000" b="1" u="none" kern="1200" baseline="0">
            <a:ln>
              <a:noFill/>
            </a:ln>
            <a:solidFill>
              <a:schemeClr val="accent4"/>
            </a:solidFill>
            <a:latin typeface="Calibri"/>
            <a:cs typeface="Calibri"/>
          </a:endParaRPr>
        </a:p>
      </dsp:txBody>
      <dsp:txXfrm>
        <a:off x="1504084" y="1628353"/>
        <a:ext cx="8125999" cy="1302237"/>
      </dsp:txXfrm>
    </dsp:sp>
    <dsp:sp modelId="{872AE899-0E5D-45E4-94B9-3C367A5D853F}">
      <dsp:nvSpPr>
        <dsp:cNvPr id="0" name=""/>
        <dsp:cNvSpPr/>
      </dsp:nvSpPr>
      <dsp:spPr>
        <a:xfrm>
          <a:off x="0" y="3256150"/>
          <a:ext cx="9630084" cy="13022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A11351-54ED-4220-B326-E891C8366D07}">
      <dsp:nvSpPr>
        <dsp:cNvPr id="0" name=""/>
        <dsp:cNvSpPr/>
      </dsp:nvSpPr>
      <dsp:spPr>
        <a:xfrm>
          <a:off x="393926" y="3549154"/>
          <a:ext cx="716230" cy="71623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F8F829-6C62-4E51-BDCD-4F652D1F1A3F}">
      <dsp:nvSpPr>
        <dsp:cNvPr id="0" name=""/>
        <dsp:cNvSpPr/>
      </dsp:nvSpPr>
      <dsp:spPr>
        <a:xfrm>
          <a:off x="1504084" y="3256150"/>
          <a:ext cx="8125999" cy="1302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20" tIns="137820" rIns="137820" bIns="137820" numCol="1" spcCol="1270" anchor="ctr" anchorCtr="0">
          <a:noAutofit/>
        </a:bodyPr>
        <a:lstStyle/>
        <a:p>
          <a:pPr marL="0" lvl="0" indent="0" algn="l" defTabSz="889000">
            <a:lnSpc>
              <a:spcPct val="100000"/>
            </a:lnSpc>
            <a:spcBef>
              <a:spcPct val="0"/>
            </a:spcBef>
            <a:spcAft>
              <a:spcPct val="35000"/>
            </a:spcAft>
            <a:buNone/>
          </a:pPr>
          <a:r>
            <a:rPr lang="en-US" sz="2000" b="1" kern="1200">
              <a:ln>
                <a:noFill/>
              </a:ln>
              <a:latin typeface="Calibri"/>
              <a:cs typeface="Calibri"/>
            </a:rPr>
            <a:t>Collaboration: This initiative aims to support New Jersey research universities and technology start-ups to foster growth and promote the New Jersey AI ecosystem</a:t>
          </a:r>
        </a:p>
      </dsp:txBody>
      <dsp:txXfrm>
        <a:off x="1504084" y="3256150"/>
        <a:ext cx="8125999" cy="13022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E5D65-D7B5-4841-9072-0C93D0A88247}">
      <dsp:nvSpPr>
        <dsp:cNvPr id="0" name=""/>
        <dsp:cNvSpPr/>
      </dsp:nvSpPr>
      <dsp:spPr>
        <a:xfrm>
          <a:off x="0" y="736327"/>
          <a:ext cx="9222309"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tailEnd type="triangle" w="lg" len="lg"/>
        </a:ln>
        <a:effectLst/>
      </dsp:spPr>
      <dsp:style>
        <a:lnRef idx="2">
          <a:scrgbClr r="0" g="0" b="0"/>
        </a:lnRef>
        <a:fillRef idx="1">
          <a:scrgbClr r="0" g="0" b="0"/>
        </a:fillRef>
        <a:effectRef idx="0">
          <a:scrgbClr r="0" g="0" b="0"/>
        </a:effectRef>
        <a:fontRef idx="minor"/>
      </dsp:style>
    </dsp:sp>
    <dsp:sp modelId="{0D5FFEE3-21F2-4224-8D64-E3A38B0060B2}">
      <dsp:nvSpPr>
        <dsp:cNvPr id="0" name=""/>
        <dsp:cNvSpPr/>
      </dsp:nvSpPr>
      <dsp:spPr>
        <a:xfrm rot="8100000">
          <a:off x="27082" y="169694"/>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DA2970-FED7-48E5-A0D5-6E23CCE4C317}">
      <dsp:nvSpPr>
        <dsp:cNvPr id="0" name=""/>
        <dsp:cNvSpPr/>
      </dsp:nvSpPr>
      <dsp:spPr>
        <a:xfrm>
          <a:off x="39113" y="181725"/>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0214BCE-ADBF-40D7-A171-9D9F8E7D314A}">
      <dsp:nvSpPr>
        <dsp:cNvPr id="0" name=""/>
        <dsp:cNvSpPr/>
      </dsp:nvSpPr>
      <dsp:spPr>
        <a:xfrm>
          <a:off x="157809" y="300421"/>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3500" rIns="63500" bIns="95250" numCol="1" spcCol="1270" anchor="t" anchorCtr="0">
          <a:noAutofit/>
        </a:bodyPr>
        <a:lstStyle/>
        <a:p>
          <a:pPr marL="0" lvl="0" indent="0" algn="l" defTabSz="444500" rtl="0">
            <a:lnSpc>
              <a:spcPct val="90000"/>
            </a:lnSpc>
            <a:spcBef>
              <a:spcPct val="0"/>
            </a:spcBef>
            <a:spcAft>
              <a:spcPct val="35000"/>
            </a:spcAft>
            <a:buNone/>
            <a:defRPr b="1"/>
          </a:pPr>
          <a:r>
            <a:rPr lang="en-US" sz="1000" b="0" kern="1200">
              <a:latin typeface="Calibri"/>
              <a:cs typeface="Calibri"/>
            </a:rPr>
            <a:t>($1M)</a:t>
          </a:r>
          <a:endParaRPr lang="en-US" sz="1000" kern="1200"/>
        </a:p>
      </dsp:txBody>
      <dsp:txXfrm>
        <a:off x="157809" y="300421"/>
        <a:ext cx="1392028" cy="435905"/>
      </dsp:txXfrm>
    </dsp:sp>
    <dsp:sp modelId="{E3507DC7-BF66-4863-A870-6516B021FB2D}">
      <dsp:nvSpPr>
        <dsp:cNvPr id="0" name=""/>
        <dsp:cNvSpPr/>
      </dsp:nvSpPr>
      <dsp:spPr>
        <a:xfrm>
          <a:off x="157809" y="147265"/>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1</a:t>
          </a:r>
        </a:p>
      </dsp:txBody>
      <dsp:txXfrm>
        <a:off x="157809" y="147265"/>
        <a:ext cx="1392028" cy="153156"/>
      </dsp:txXfrm>
    </dsp:sp>
    <dsp:sp modelId="{687149D8-0E12-44DD-BC6E-7D26515C5A98}">
      <dsp:nvSpPr>
        <dsp:cNvPr id="0" name=""/>
        <dsp:cNvSpPr/>
      </dsp:nvSpPr>
      <dsp:spPr>
        <a:xfrm>
          <a:off x="81231" y="300421"/>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0BC4390-657E-4C61-AC22-7BE8D092D11A}">
      <dsp:nvSpPr>
        <dsp:cNvPr id="0" name=""/>
        <dsp:cNvSpPr/>
      </dsp:nvSpPr>
      <dsp:spPr>
        <a:xfrm>
          <a:off x="67447"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4771A23-2CF8-44A4-8EC5-3E455F6C6D49}">
      <dsp:nvSpPr>
        <dsp:cNvPr id="0" name=""/>
        <dsp:cNvSpPr/>
      </dsp:nvSpPr>
      <dsp:spPr>
        <a:xfrm rot="18900000">
          <a:off x="864400" y="1194661"/>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EC7EEA-371C-4995-9F34-A22DE734BC8F}">
      <dsp:nvSpPr>
        <dsp:cNvPr id="0" name=""/>
        <dsp:cNvSpPr/>
      </dsp:nvSpPr>
      <dsp:spPr>
        <a:xfrm>
          <a:off x="876431" y="1206692"/>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0529F6CA-F0C8-41AC-8A1F-F94492F52C9B}">
      <dsp:nvSpPr>
        <dsp:cNvPr id="0" name=""/>
        <dsp:cNvSpPr/>
      </dsp:nvSpPr>
      <dsp:spPr>
        <a:xfrm>
          <a:off x="995127" y="736327"/>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0" bIns="63500" numCol="1" spcCol="1270" anchor="b" anchorCtr="0">
          <a:noAutofit/>
        </a:bodyPr>
        <a:lstStyle/>
        <a:p>
          <a:pPr marL="0" lvl="0" indent="0" algn="l" defTabSz="444500" rtl="0">
            <a:lnSpc>
              <a:spcPct val="90000"/>
            </a:lnSpc>
            <a:spcBef>
              <a:spcPct val="0"/>
            </a:spcBef>
            <a:spcAft>
              <a:spcPct val="35000"/>
            </a:spcAft>
            <a:buNone/>
            <a:defRPr b="1"/>
          </a:pPr>
          <a:endParaRPr lang="en-US" sz="1000" b="1" kern="1200">
            <a:latin typeface="Calibri"/>
            <a:cs typeface="Calibri"/>
          </a:endParaRPr>
        </a:p>
      </dsp:txBody>
      <dsp:txXfrm>
        <a:off x="995127" y="736327"/>
        <a:ext cx="1392028" cy="435905"/>
      </dsp:txXfrm>
    </dsp:sp>
    <dsp:sp modelId="{6D840BA3-6F3E-4412-B617-11D232043200}">
      <dsp:nvSpPr>
        <dsp:cNvPr id="0" name=""/>
        <dsp:cNvSpPr/>
      </dsp:nvSpPr>
      <dsp:spPr>
        <a:xfrm>
          <a:off x="995127" y="1172232"/>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2 </a:t>
          </a:r>
          <a:endParaRPr lang="en-US" sz="1300" kern="1200"/>
        </a:p>
      </dsp:txBody>
      <dsp:txXfrm>
        <a:off x="995127" y="1172232"/>
        <a:ext cx="1392028" cy="153156"/>
      </dsp:txXfrm>
    </dsp:sp>
    <dsp:sp modelId="{B0930BC1-7D2E-4D39-896C-B6E848409566}">
      <dsp:nvSpPr>
        <dsp:cNvPr id="0" name=""/>
        <dsp:cNvSpPr/>
      </dsp:nvSpPr>
      <dsp:spPr>
        <a:xfrm>
          <a:off x="918549" y="736327"/>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4AC591A-4936-4018-8409-C0A2BC1A737F}">
      <dsp:nvSpPr>
        <dsp:cNvPr id="0" name=""/>
        <dsp:cNvSpPr/>
      </dsp:nvSpPr>
      <dsp:spPr>
        <a:xfrm>
          <a:off x="904765"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C68994-E2C0-4C01-8906-A14F495551B9}">
      <dsp:nvSpPr>
        <dsp:cNvPr id="0" name=""/>
        <dsp:cNvSpPr/>
      </dsp:nvSpPr>
      <dsp:spPr>
        <a:xfrm rot="8100000">
          <a:off x="1701718" y="169694"/>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9A6839-5C64-4D39-8FA1-77BB63DD6AC2}">
      <dsp:nvSpPr>
        <dsp:cNvPr id="0" name=""/>
        <dsp:cNvSpPr/>
      </dsp:nvSpPr>
      <dsp:spPr>
        <a:xfrm>
          <a:off x="1713748" y="181725"/>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BCAAE555-609B-4EAC-81A1-D6F7043ED396}">
      <dsp:nvSpPr>
        <dsp:cNvPr id="0" name=""/>
        <dsp:cNvSpPr/>
      </dsp:nvSpPr>
      <dsp:spPr>
        <a:xfrm>
          <a:off x="1832444" y="300421"/>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3500" rIns="63500" bIns="95250" numCol="1" spcCol="1270" anchor="t" anchorCtr="0">
          <a:noAutofit/>
        </a:bodyPr>
        <a:lstStyle/>
        <a:p>
          <a:pPr marL="0" lvl="0" indent="0" algn="l" defTabSz="444500" rtl="0">
            <a:lnSpc>
              <a:spcPct val="90000"/>
            </a:lnSpc>
            <a:spcBef>
              <a:spcPct val="0"/>
            </a:spcBef>
            <a:spcAft>
              <a:spcPct val="35000"/>
            </a:spcAft>
            <a:buNone/>
            <a:defRPr b="1"/>
          </a:pPr>
          <a:r>
            <a:rPr lang="en-US" sz="1000" b="0" kern="1200">
              <a:latin typeface="Calibri"/>
              <a:cs typeface="Calibri"/>
            </a:rPr>
            <a:t>($1M)</a:t>
          </a:r>
          <a:endParaRPr lang="en-US" sz="1000" kern="1200"/>
        </a:p>
      </dsp:txBody>
      <dsp:txXfrm>
        <a:off x="1832444" y="300421"/>
        <a:ext cx="1392028" cy="435905"/>
      </dsp:txXfrm>
    </dsp:sp>
    <dsp:sp modelId="{61CEEA00-B311-4CD3-9B01-893A5E09FD6E}">
      <dsp:nvSpPr>
        <dsp:cNvPr id="0" name=""/>
        <dsp:cNvSpPr/>
      </dsp:nvSpPr>
      <dsp:spPr>
        <a:xfrm>
          <a:off x="1832444" y="147265"/>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3</a:t>
          </a:r>
          <a:endParaRPr lang="en-US" sz="1300" kern="1200"/>
        </a:p>
      </dsp:txBody>
      <dsp:txXfrm>
        <a:off x="1832444" y="147265"/>
        <a:ext cx="1392028" cy="153156"/>
      </dsp:txXfrm>
    </dsp:sp>
    <dsp:sp modelId="{5ACBD1FB-5E66-44E0-8119-18AA7C435F99}">
      <dsp:nvSpPr>
        <dsp:cNvPr id="0" name=""/>
        <dsp:cNvSpPr/>
      </dsp:nvSpPr>
      <dsp:spPr>
        <a:xfrm>
          <a:off x="1755866" y="300421"/>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09969F4-02D0-4E24-8F84-AFC7B3D176D9}">
      <dsp:nvSpPr>
        <dsp:cNvPr id="0" name=""/>
        <dsp:cNvSpPr/>
      </dsp:nvSpPr>
      <dsp:spPr>
        <a:xfrm>
          <a:off x="1742082"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6FB358-C363-4496-BFDC-BAEA7401FC20}">
      <dsp:nvSpPr>
        <dsp:cNvPr id="0" name=""/>
        <dsp:cNvSpPr/>
      </dsp:nvSpPr>
      <dsp:spPr>
        <a:xfrm rot="18900000">
          <a:off x="2539035" y="1194661"/>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054524-21EF-4697-A733-651677988B76}">
      <dsp:nvSpPr>
        <dsp:cNvPr id="0" name=""/>
        <dsp:cNvSpPr/>
      </dsp:nvSpPr>
      <dsp:spPr>
        <a:xfrm>
          <a:off x="2551066" y="1206692"/>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29BBA8A5-07A1-45A7-BC54-B49994764BA2}">
      <dsp:nvSpPr>
        <dsp:cNvPr id="0" name=""/>
        <dsp:cNvSpPr/>
      </dsp:nvSpPr>
      <dsp:spPr>
        <a:xfrm>
          <a:off x="2669762" y="736327"/>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0" bIns="63500" numCol="1" spcCol="1270" anchor="b" anchorCtr="0">
          <a:noAutofit/>
        </a:bodyPr>
        <a:lstStyle/>
        <a:p>
          <a:pPr marL="0" lvl="0" indent="0" algn="l" defTabSz="444500" rtl="0">
            <a:lnSpc>
              <a:spcPct val="90000"/>
            </a:lnSpc>
            <a:spcBef>
              <a:spcPct val="0"/>
            </a:spcBef>
            <a:spcAft>
              <a:spcPct val="35000"/>
            </a:spcAft>
            <a:buNone/>
            <a:defRPr b="1"/>
          </a:pPr>
          <a:endParaRPr lang="en-US" sz="1000" b="0" kern="1200">
            <a:latin typeface="Calibri"/>
            <a:cs typeface="Calibri"/>
          </a:endParaRPr>
        </a:p>
      </dsp:txBody>
      <dsp:txXfrm>
        <a:off x="2669762" y="736327"/>
        <a:ext cx="1392028" cy="435905"/>
      </dsp:txXfrm>
    </dsp:sp>
    <dsp:sp modelId="{DBA738E1-0A3F-4671-A3AE-7100C602C512}">
      <dsp:nvSpPr>
        <dsp:cNvPr id="0" name=""/>
        <dsp:cNvSpPr/>
      </dsp:nvSpPr>
      <dsp:spPr>
        <a:xfrm>
          <a:off x="2669762" y="1172232"/>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4</a:t>
          </a:r>
          <a:endParaRPr lang="en-US" sz="1300" kern="1200"/>
        </a:p>
      </dsp:txBody>
      <dsp:txXfrm>
        <a:off x="2669762" y="1172232"/>
        <a:ext cx="1392028" cy="153156"/>
      </dsp:txXfrm>
    </dsp:sp>
    <dsp:sp modelId="{30B0D726-4912-43F9-A1AE-1733417C4979}">
      <dsp:nvSpPr>
        <dsp:cNvPr id="0" name=""/>
        <dsp:cNvSpPr/>
      </dsp:nvSpPr>
      <dsp:spPr>
        <a:xfrm>
          <a:off x="2593184" y="736327"/>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AB73B9B-8581-4F52-9190-FCE34F4BAC76}">
      <dsp:nvSpPr>
        <dsp:cNvPr id="0" name=""/>
        <dsp:cNvSpPr/>
      </dsp:nvSpPr>
      <dsp:spPr>
        <a:xfrm>
          <a:off x="2579400"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D06FE5-CD2A-4DF9-8CA2-341036D4127C}">
      <dsp:nvSpPr>
        <dsp:cNvPr id="0" name=""/>
        <dsp:cNvSpPr/>
      </dsp:nvSpPr>
      <dsp:spPr>
        <a:xfrm rot="8100000">
          <a:off x="3376353" y="169694"/>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ACA0AE-3DE8-4346-82A0-3E884FE6E8A5}">
      <dsp:nvSpPr>
        <dsp:cNvPr id="0" name=""/>
        <dsp:cNvSpPr/>
      </dsp:nvSpPr>
      <dsp:spPr>
        <a:xfrm>
          <a:off x="3388384" y="181725"/>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71ACCB0C-8736-4C76-A4D1-B491BAA21D06}">
      <dsp:nvSpPr>
        <dsp:cNvPr id="0" name=""/>
        <dsp:cNvSpPr/>
      </dsp:nvSpPr>
      <dsp:spPr>
        <a:xfrm>
          <a:off x="3507080" y="300421"/>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3500" rIns="63500" bIns="95250" numCol="1" spcCol="1270" anchor="t" anchorCtr="0">
          <a:noAutofit/>
        </a:bodyPr>
        <a:lstStyle/>
        <a:p>
          <a:pPr marL="0" lvl="0" indent="0" algn="l" defTabSz="444500" rtl="0">
            <a:lnSpc>
              <a:spcPct val="90000"/>
            </a:lnSpc>
            <a:spcBef>
              <a:spcPct val="0"/>
            </a:spcBef>
            <a:spcAft>
              <a:spcPct val="35000"/>
            </a:spcAft>
            <a:buNone/>
            <a:defRPr b="1"/>
          </a:pPr>
          <a:r>
            <a:rPr lang="en-US" sz="1000" b="0" kern="1200">
              <a:latin typeface="Calibri"/>
              <a:cs typeface="Calibri"/>
            </a:rPr>
            <a:t>($1M)</a:t>
          </a:r>
          <a:endParaRPr lang="en-US" sz="1000" kern="1200"/>
        </a:p>
      </dsp:txBody>
      <dsp:txXfrm>
        <a:off x="3507080" y="300421"/>
        <a:ext cx="1392028" cy="435905"/>
      </dsp:txXfrm>
    </dsp:sp>
    <dsp:sp modelId="{D2A86D13-04CE-481F-A6DA-BA2D2C728232}">
      <dsp:nvSpPr>
        <dsp:cNvPr id="0" name=""/>
        <dsp:cNvSpPr/>
      </dsp:nvSpPr>
      <dsp:spPr>
        <a:xfrm>
          <a:off x="3507080" y="147265"/>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5</a:t>
          </a:r>
          <a:endParaRPr lang="en-US" sz="1300" kern="1200"/>
        </a:p>
      </dsp:txBody>
      <dsp:txXfrm>
        <a:off x="3507080" y="147265"/>
        <a:ext cx="1392028" cy="153156"/>
      </dsp:txXfrm>
    </dsp:sp>
    <dsp:sp modelId="{3094E136-C0BC-48C3-8D7C-B58A14261D42}">
      <dsp:nvSpPr>
        <dsp:cNvPr id="0" name=""/>
        <dsp:cNvSpPr/>
      </dsp:nvSpPr>
      <dsp:spPr>
        <a:xfrm>
          <a:off x="3430502" y="300421"/>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04ECEF5-9B0E-406F-81AB-93A1AB1EFC97}">
      <dsp:nvSpPr>
        <dsp:cNvPr id="0" name=""/>
        <dsp:cNvSpPr/>
      </dsp:nvSpPr>
      <dsp:spPr>
        <a:xfrm>
          <a:off x="3416718"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6A0EB8-61F8-47FF-B9F5-D253A872D518}">
      <dsp:nvSpPr>
        <dsp:cNvPr id="0" name=""/>
        <dsp:cNvSpPr/>
      </dsp:nvSpPr>
      <dsp:spPr>
        <a:xfrm rot="18900000">
          <a:off x="4213671" y="1194661"/>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65E501-BF70-41BC-AD63-626C93807789}">
      <dsp:nvSpPr>
        <dsp:cNvPr id="0" name=""/>
        <dsp:cNvSpPr/>
      </dsp:nvSpPr>
      <dsp:spPr>
        <a:xfrm>
          <a:off x="4225702" y="1206692"/>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607FEBF-2F4B-4EB7-AEC5-0ECC5EBE9BB3}">
      <dsp:nvSpPr>
        <dsp:cNvPr id="0" name=""/>
        <dsp:cNvSpPr/>
      </dsp:nvSpPr>
      <dsp:spPr>
        <a:xfrm>
          <a:off x="4344398" y="736327"/>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0" bIns="63500" numCol="1" spcCol="1270" anchor="b" anchorCtr="0">
          <a:noAutofit/>
        </a:bodyPr>
        <a:lstStyle/>
        <a:p>
          <a:pPr marL="0" lvl="0" indent="0" algn="l" defTabSz="444500" rtl="0">
            <a:lnSpc>
              <a:spcPct val="90000"/>
            </a:lnSpc>
            <a:spcBef>
              <a:spcPct val="0"/>
            </a:spcBef>
            <a:spcAft>
              <a:spcPct val="35000"/>
            </a:spcAft>
            <a:buNone/>
            <a:defRPr b="1"/>
          </a:pPr>
          <a:endParaRPr lang="en-US" sz="1000" b="0" kern="1200">
            <a:latin typeface="Calibri"/>
            <a:cs typeface="Calibri"/>
          </a:endParaRPr>
        </a:p>
      </dsp:txBody>
      <dsp:txXfrm>
        <a:off x="4344398" y="736327"/>
        <a:ext cx="1392028" cy="435905"/>
      </dsp:txXfrm>
    </dsp:sp>
    <dsp:sp modelId="{F78420A8-299F-4D3E-A0E5-D6D9F1A6D24A}">
      <dsp:nvSpPr>
        <dsp:cNvPr id="0" name=""/>
        <dsp:cNvSpPr/>
      </dsp:nvSpPr>
      <dsp:spPr>
        <a:xfrm>
          <a:off x="4344398" y="1172232"/>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6</a:t>
          </a:r>
          <a:endParaRPr lang="en-US" sz="1300" kern="1200"/>
        </a:p>
      </dsp:txBody>
      <dsp:txXfrm>
        <a:off x="4344398" y="1172232"/>
        <a:ext cx="1392028" cy="153156"/>
      </dsp:txXfrm>
    </dsp:sp>
    <dsp:sp modelId="{D5089989-13FA-4B5D-BAA3-FDA55DA1D2CA}">
      <dsp:nvSpPr>
        <dsp:cNvPr id="0" name=""/>
        <dsp:cNvSpPr/>
      </dsp:nvSpPr>
      <dsp:spPr>
        <a:xfrm>
          <a:off x="4267820" y="736327"/>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AC10EC62-85F6-4516-95FC-6691E8E5E9E0}">
      <dsp:nvSpPr>
        <dsp:cNvPr id="0" name=""/>
        <dsp:cNvSpPr/>
      </dsp:nvSpPr>
      <dsp:spPr>
        <a:xfrm>
          <a:off x="4254036"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984269-4A30-40FF-8975-79CABCAAB055}">
      <dsp:nvSpPr>
        <dsp:cNvPr id="0" name=""/>
        <dsp:cNvSpPr/>
      </dsp:nvSpPr>
      <dsp:spPr>
        <a:xfrm rot="8100000">
          <a:off x="5050989" y="169694"/>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93E0FB-9548-4421-B259-61757A71CB73}">
      <dsp:nvSpPr>
        <dsp:cNvPr id="0" name=""/>
        <dsp:cNvSpPr/>
      </dsp:nvSpPr>
      <dsp:spPr>
        <a:xfrm>
          <a:off x="5063020" y="181725"/>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0EC56713-F1C1-4A52-9B90-156EC783CCD2}">
      <dsp:nvSpPr>
        <dsp:cNvPr id="0" name=""/>
        <dsp:cNvSpPr/>
      </dsp:nvSpPr>
      <dsp:spPr>
        <a:xfrm>
          <a:off x="5181716" y="300421"/>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3500" rIns="63500" bIns="95250" numCol="1" spcCol="1270" anchor="t" anchorCtr="0">
          <a:noAutofit/>
        </a:bodyPr>
        <a:lstStyle/>
        <a:p>
          <a:pPr marL="0" lvl="0" indent="0" algn="l" defTabSz="444500" rtl="0">
            <a:lnSpc>
              <a:spcPct val="90000"/>
            </a:lnSpc>
            <a:spcBef>
              <a:spcPct val="0"/>
            </a:spcBef>
            <a:spcAft>
              <a:spcPct val="35000"/>
            </a:spcAft>
            <a:buNone/>
            <a:defRPr b="1"/>
          </a:pPr>
          <a:r>
            <a:rPr lang="en-US" sz="1000" b="0" kern="1200">
              <a:latin typeface="Calibri"/>
              <a:cs typeface="Calibri"/>
            </a:rPr>
            <a:t>($1M)</a:t>
          </a:r>
          <a:endParaRPr lang="en-US" sz="1000" kern="1200"/>
        </a:p>
      </dsp:txBody>
      <dsp:txXfrm>
        <a:off x="5181716" y="300421"/>
        <a:ext cx="1392028" cy="435905"/>
      </dsp:txXfrm>
    </dsp:sp>
    <dsp:sp modelId="{5F8278C0-7FF3-47F7-B87C-9309046C995F}">
      <dsp:nvSpPr>
        <dsp:cNvPr id="0" name=""/>
        <dsp:cNvSpPr/>
      </dsp:nvSpPr>
      <dsp:spPr>
        <a:xfrm>
          <a:off x="5181716" y="147265"/>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7</a:t>
          </a:r>
          <a:endParaRPr lang="en-US" sz="1300" kern="1200"/>
        </a:p>
      </dsp:txBody>
      <dsp:txXfrm>
        <a:off x="5181716" y="147265"/>
        <a:ext cx="1392028" cy="153156"/>
      </dsp:txXfrm>
    </dsp:sp>
    <dsp:sp modelId="{813D2901-A6B1-4C57-81C0-A008DFEE6E21}">
      <dsp:nvSpPr>
        <dsp:cNvPr id="0" name=""/>
        <dsp:cNvSpPr/>
      </dsp:nvSpPr>
      <dsp:spPr>
        <a:xfrm>
          <a:off x="5105138" y="300421"/>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0C0A437-A11E-4790-949C-FC06F37F2775}">
      <dsp:nvSpPr>
        <dsp:cNvPr id="0" name=""/>
        <dsp:cNvSpPr/>
      </dsp:nvSpPr>
      <dsp:spPr>
        <a:xfrm>
          <a:off x="5091354"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202D85-C69B-4E20-85FF-BD571C7EE797}">
      <dsp:nvSpPr>
        <dsp:cNvPr id="0" name=""/>
        <dsp:cNvSpPr/>
      </dsp:nvSpPr>
      <dsp:spPr>
        <a:xfrm rot="18900000">
          <a:off x="5888307" y="1194661"/>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5D2D97-45B3-4857-AE44-25C75A6E4BF6}">
      <dsp:nvSpPr>
        <dsp:cNvPr id="0" name=""/>
        <dsp:cNvSpPr/>
      </dsp:nvSpPr>
      <dsp:spPr>
        <a:xfrm>
          <a:off x="5900337" y="1206692"/>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10FC98DD-F804-40FB-B142-27BC6DE92DAA}">
      <dsp:nvSpPr>
        <dsp:cNvPr id="0" name=""/>
        <dsp:cNvSpPr/>
      </dsp:nvSpPr>
      <dsp:spPr>
        <a:xfrm>
          <a:off x="6019033" y="736327"/>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0" bIns="63500" numCol="1" spcCol="1270" anchor="b" anchorCtr="0">
          <a:noAutofit/>
        </a:bodyPr>
        <a:lstStyle/>
        <a:p>
          <a:pPr marL="0" lvl="0" indent="0" algn="l" defTabSz="444500" rtl="0">
            <a:lnSpc>
              <a:spcPct val="90000"/>
            </a:lnSpc>
            <a:spcBef>
              <a:spcPct val="0"/>
            </a:spcBef>
            <a:spcAft>
              <a:spcPct val="35000"/>
            </a:spcAft>
            <a:buNone/>
            <a:defRPr b="1"/>
          </a:pPr>
          <a:endParaRPr lang="en-US" sz="1000" b="0" kern="1200">
            <a:latin typeface="Calibri"/>
            <a:cs typeface="Calibri"/>
          </a:endParaRPr>
        </a:p>
      </dsp:txBody>
      <dsp:txXfrm>
        <a:off x="6019033" y="736327"/>
        <a:ext cx="1392028" cy="435905"/>
      </dsp:txXfrm>
    </dsp:sp>
    <dsp:sp modelId="{171A52F2-4F0D-45EA-9554-D2D098D66F27}">
      <dsp:nvSpPr>
        <dsp:cNvPr id="0" name=""/>
        <dsp:cNvSpPr/>
      </dsp:nvSpPr>
      <dsp:spPr>
        <a:xfrm>
          <a:off x="6019033" y="1172232"/>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8</a:t>
          </a:r>
          <a:endParaRPr lang="en-US" sz="1300" kern="1200"/>
        </a:p>
      </dsp:txBody>
      <dsp:txXfrm>
        <a:off x="6019033" y="1172232"/>
        <a:ext cx="1392028" cy="153156"/>
      </dsp:txXfrm>
    </dsp:sp>
    <dsp:sp modelId="{B7A2DA57-B765-45F0-BFAA-757342E464AD}">
      <dsp:nvSpPr>
        <dsp:cNvPr id="0" name=""/>
        <dsp:cNvSpPr/>
      </dsp:nvSpPr>
      <dsp:spPr>
        <a:xfrm>
          <a:off x="5942455" y="736327"/>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E2984DF9-E2AF-4598-B9C3-6C184FB82837}">
      <dsp:nvSpPr>
        <dsp:cNvPr id="0" name=""/>
        <dsp:cNvSpPr/>
      </dsp:nvSpPr>
      <dsp:spPr>
        <a:xfrm>
          <a:off x="5928671"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3D1272-4205-4DE2-9DDA-14A6F1F85A0D}">
      <dsp:nvSpPr>
        <dsp:cNvPr id="0" name=""/>
        <dsp:cNvSpPr/>
      </dsp:nvSpPr>
      <dsp:spPr>
        <a:xfrm rot="8100000">
          <a:off x="6725624" y="169694"/>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001EAA-FCEE-44D6-A479-F7BC335FCC05}">
      <dsp:nvSpPr>
        <dsp:cNvPr id="0" name=""/>
        <dsp:cNvSpPr/>
      </dsp:nvSpPr>
      <dsp:spPr>
        <a:xfrm>
          <a:off x="6737655" y="181725"/>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514D1F3B-6F09-405A-8135-6A686749B576}">
      <dsp:nvSpPr>
        <dsp:cNvPr id="0" name=""/>
        <dsp:cNvSpPr/>
      </dsp:nvSpPr>
      <dsp:spPr>
        <a:xfrm>
          <a:off x="6856351" y="300421"/>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3500" rIns="63500" bIns="95250" numCol="1" spcCol="1270" anchor="t" anchorCtr="0">
          <a:noAutofit/>
        </a:bodyPr>
        <a:lstStyle/>
        <a:p>
          <a:pPr marL="0" lvl="0" indent="0" algn="l" defTabSz="444500">
            <a:lnSpc>
              <a:spcPct val="90000"/>
            </a:lnSpc>
            <a:spcBef>
              <a:spcPct val="0"/>
            </a:spcBef>
            <a:spcAft>
              <a:spcPct val="35000"/>
            </a:spcAft>
            <a:buNone/>
          </a:pPr>
          <a:r>
            <a:rPr lang="en-US" sz="1000" b="0" kern="1200">
              <a:solidFill>
                <a:srgbClr val="000000"/>
              </a:solidFill>
              <a:latin typeface="Calibri"/>
              <a:ea typeface="Calibri"/>
              <a:cs typeface="Calibri"/>
            </a:rPr>
            <a:t>($1M)</a:t>
          </a:r>
          <a:endParaRPr lang="en-US" sz="1000" kern="1200"/>
        </a:p>
      </dsp:txBody>
      <dsp:txXfrm>
        <a:off x="6856351" y="300421"/>
        <a:ext cx="1392028" cy="435905"/>
      </dsp:txXfrm>
    </dsp:sp>
    <dsp:sp modelId="{E358AB22-A5D9-4C0B-BB57-B99B189F189F}">
      <dsp:nvSpPr>
        <dsp:cNvPr id="0" name=""/>
        <dsp:cNvSpPr/>
      </dsp:nvSpPr>
      <dsp:spPr>
        <a:xfrm>
          <a:off x="6856351" y="147265"/>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9</a:t>
          </a:r>
          <a:endParaRPr lang="en-US" sz="1300" kern="1200"/>
        </a:p>
      </dsp:txBody>
      <dsp:txXfrm>
        <a:off x="6856351" y="147265"/>
        <a:ext cx="1392028" cy="153156"/>
      </dsp:txXfrm>
    </dsp:sp>
    <dsp:sp modelId="{C158A821-995C-4AF3-A0D7-97473E4D3454}">
      <dsp:nvSpPr>
        <dsp:cNvPr id="0" name=""/>
        <dsp:cNvSpPr/>
      </dsp:nvSpPr>
      <dsp:spPr>
        <a:xfrm>
          <a:off x="6779773" y="300421"/>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90F3E0A5-72AC-42C0-8907-EACF239FDFD3}">
      <dsp:nvSpPr>
        <dsp:cNvPr id="0" name=""/>
        <dsp:cNvSpPr/>
      </dsp:nvSpPr>
      <dsp:spPr>
        <a:xfrm>
          <a:off x="6765989"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9E6591-7771-4993-9199-0625DBE3E12B}">
      <dsp:nvSpPr>
        <dsp:cNvPr id="0" name=""/>
        <dsp:cNvSpPr/>
      </dsp:nvSpPr>
      <dsp:spPr>
        <a:xfrm rot="18900000">
          <a:off x="7562942" y="1194661"/>
          <a:ext cx="108297" cy="108297"/>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C9C058-E846-41A9-9EEE-C07D4B5F9188}">
      <dsp:nvSpPr>
        <dsp:cNvPr id="0" name=""/>
        <dsp:cNvSpPr/>
      </dsp:nvSpPr>
      <dsp:spPr>
        <a:xfrm>
          <a:off x="7574973" y="1206692"/>
          <a:ext cx="84235" cy="84235"/>
        </a:xfrm>
        <a:prstGeom prst="ellipse">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EF681765-A5D6-47A5-8D03-ADE02237A7A2}">
      <dsp:nvSpPr>
        <dsp:cNvPr id="0" name=""/>
        <dsp:cNvSpPr/>
      </dsp:nvSpPr>
      <dsp:spPr>
        <a:xfrm>
          <a:off x="7693669" y="736327"/>
          <a:ext cx="1392028" cy="435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0" bIns="63500" numCol="1" spcCol="1270" anchor="b" anchorCtr="0">
          <a:noAutofit/>
        </a:bodyPr>
        <a:lstStyle/>
        <a:p>
          <a:pPr marL="0" lvl="0" indent="0" algn="l" defTabSz="444500">
            <a:lnSpc>
              <a:spcPct val="90000"/>
            </a:lnSpc>
            <a:spcBef>
              <a:spcPct val="0"/>
            </a:spcBef>
            <a:spcAft>
              <a:spcPct val="35000"/>
            </a:spcAft>
            <a:buNone/>
          </a:pPr>
          <a:endParaRPr lang="en-US" sz="1000" b="0" kern="1200">
            <a:latin typeface="Calibri"/>
            <a:ea typeface="Calibri"/>
            <a:cs typeface="Calibri"/>
          </a:endParaRPr>
        </a:p>
        <a:p>
          <a:pPr marL="0" lvl="0" indent="0" algn="l" defTabSz="444500">
            <a:lnSpc>
              <a:spcPct val="90000"/>
            </a:lnSpc>
            <a:spcBef>
              <a:spcPct val="0"/>
            </a:spcBef>
            <a:spcAft>
              <a:spcPct val="35000"/>
            </a:spcAft>
            <a:buNone/>
          </a:pPr>
          <a:endParaRPr lang="en-US" sz="1000" kern="1200">
            <a:latin typeface="Arial"/>
          </a:endParaRPr>
        </a:p>
      </dsp:txBody>
      <dsp:txXfrm>
        <a:off x="7693669" y="736327"/>
        <a:ext cx="1392028" cy="435905"/>
      </dsp:txXfrm>
    </dsp:sp>
    <dsp:sp modelId="{40228DAD-6701-4A60-BCD4-3BDEB5A99760}">
      <dsp:nvSpPr>
        <dsp:cNvPr id="0" name=""/>
        <dsp:cNvSpPr/>
      </dsp:nvSpPr>
      <dsp:spPr>
        <a:xfrm>
          <a:off x="7693669" y="1172232"/>
          <a:ext cx="1392028" cy="153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rtl="0">
            <a:lnSpc>
              <a:spcPct val="90000"/>
            </a:lnSpc>
            <a:spcBef>
              <a:spcPct val="0"/>
            </a:spcBef>
            <a:spcAft>
              <a:spcPct val="35000"/>
            </a:spcAft>
            <a:buNone/>
            <a:defRPr b="1"/>
          </a:pPr>
          <a:r>
            <a:rPr lang="en-US" sz="1300" b="1" kern="1200">
              <a:latin typeface="Calibri"/>
              <a:cs typeface="Calibri"/>
            </a:rPr>
            <a:t>Year 10</a:t>
          </a:r>
          <a:endParaRPr lang="en-US" sz="1300" kern="1200"/>
        </a:p>
      </dsp:txBody>
      <dsp:txXfrm>
        <a:off x="7693669" y="1172232"/>
        <a:ext cx="1392028" cy="153156"/>
      </dsp:txXfrm>
    </dsp:sp>
    <dsp:sp modelId="{122061E6-CD0A-4BBE-8933-91710B6DB801}">
      <dsp:nvSpPr>
        <dsp:cNvPr id="0" name=""/>
        <dsp:cNvSpPr/>
      </dsp:nvSpPr>
      <dsp:spPr>
        <a:xfrm>
          <a:off x="7617091" y="736327"/>
          <a:ext cx="0" cy="4359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08CDEA4A-6E9F-4AFB-97D0-4ABB3EB98C8D}">
      <dsp:nvSpPr>
        <dsp:cNvPr id="0" name=""/>
        <dsp:cNvSpPr/>
      </dsp:nvSpPr>
      <dsp:spPr>
        <a:xfrm>
          <a:off x="7603307" y="722542"/>
          <a:ext cx="27568" cy="2756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C67DA1-09D5-44F4-9B7A-72B27E339021}">
      <dsp:nvSpPr>
        <dsp:cNvPr id="0" name=""/>
        <dsp:cNvSpPr/>
      </dsp:nvSpPr>
      <dsp:spPr>
        <a:xfrm>
          <a:off x="520885" y="189727"/>
          <a:ext cx="2067876" cy="1807584"/>
        </a:xfrm>
        <a:prstGeom prst="rightArrow">
          <a:avLst>
            <a:gd name="adj1" fmla="val 70000"/>
            <a:gd name="adj2" fmla="val 50000"/>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1120" tIns="17780" rIns="35560" bIns="177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Arial"/>
            </a:rPr>
            <a:t>Up to 4 years</a:t>
          </a:r>
          <a:endParaRPr lang="en-US" sz="2800" kern="1200"/>
        </a:p>
      </dsp:txBody>
      <dsp:txXfrm>
        <a:off x="1037854" y="460865"/>
        <a:ext cx="1008090" cy="1265308"/>
      </dsp:txXfrm>
    </dsp:sp>
    <dsp:sp modelId="{BDC17145-DA3F-4FF0-9C85-78EACB32357F}">
      <dsp:nvSpPr>
        <dsp:cNvPr id="0" name=""/>
        <dsp:cNvSpPr/>
      </dsp:nvSpPr>
      <dsp:spPr>
        <a:xfrm>
          <a:off x="3916" y="576550"/>
          <a:ext cx="1033938" cy="1033938"/>
        </a:xfrm>
        <a:prstGeom prst="ellipse">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rtl="0">
            <a:lnSpc>
              <a:spcPct val="90000"/>
            </a:lnSpc>
            <a:spcBef>
              <a:spcPct val="0"/>
            </a:spcBef>
            <a:spcAft>
              <a:spcPct val="35000"/>
            </a:spcAft>
            <a:buNone/>
          </a:pPr>
          <a:r>
            <a:rPr lang="en-US" sz="1000" b="1" kern="1200">
              <a:latin typeface="Calibri"/>
              <a:cs typeface="Calibri"/>
            </a:rPr>
            <a:t>Certification Period</a:t>
          </a:r>
        </a:p>
      </dsp:txBody>
      <dsp:txXfrm>
        <a:off x="155333" y="727967"/>
        <a:ext cx="731104" cy="731104"/>
      </dsp:txXfrm>
    </dsp:sp>
    <dsp:sp modelId="{9A8CE8CB-1CFF-454E-BB4D-0FF75430514D}">
      <dsp:nvSpPr>
        <dsp:cNvPr id="0" name=""/>
        <dsp:cNvSpPr/>
      </dsp:nvSpPr>
      <dsp:spPr>
        <a:xfrm>
          <a:off x="3234974" y="189727"/>
          <a:ext cx="2067876" cy="1807584"/>
        </a:xfrm>
        <a:prstGeom prst="rightArrow">
          <a:avLst>
            <a:gd name="adj1" fmla="val 70000"/>
            <a:gd name="adj2" fmla="val 50000"/>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1120" tIns="17780" rIns="35560" bIns="177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Arial"/>
            </a:rPr>
            <a:t>Years 1-5</a:t>
          </a:r>
          <a:endParaRPr lang="en-US" sz="2800" kern="1200"/>
        </a:p>
      </dsp:txBody>
      <dsp:txXfrm>
        <a:off x="3751943" y="460865"/>
        <a:ext cx="1008090" cy="1265308"/>
      </dsp:txXfrm>
    </dsp:sp>
    <dsp:sp modelId="{F011C9B0-954B-437C-AF47-FEADDD951100}">
      <dsp:nvSpPr>
        <dsp:cNvPr id="0" name=""/>
        <dsp:cNvSpPr/>
      </dsp:nvSpPr>
      <dsp:spPr>
        <a:xfrm>
          <a:off x="2718004" y="576550"/>
          <a:ext cx="1033938" cy="1033938"/>
        </a:xfrm>
        <a:prstGeom prst="ellipse">
          <a:avLst/>
        </a:prstGeom>
        <a:gradFill rotWithShape="0">
          <a:gsLst>
            <a:gs pos="0">
              <a:schemeClr val="accent2">
                <a:shade val="80000"/>
                <a:hueOff val="335488"/>
                <a:satOff val="-28982"/>
                <a:lumOff val="18588"/>
                <a:alphaOff val="0"/>
                <a:shade val="51000"/>
                <a:satMod val="130000"/>
              </a:schemeClr>
            </a:gs>
            <a:gs pos="80000">
              <a:schemeClr val="accent2">
                <a:shade val="80000"/>
                <a:hueOff val="335488"/>
                <a:satOff val="-28982"/>
                <a:lumOff val="18588"/>
                <a:alphaOff val="0"/>
                <a:shade val="93000"/>
                <a:satMod val="130000"/>
              </a:schemeClr>
            </a:gs>
            <a:gs pos="100000">
              <a:schemeClr val="accent2">
                <a:shade val="80000"/>
                <a:hueOff val="335488"/>
                <a:satOff val="-28982"/>
                <a:lumOff val="1858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a:rPr>
            <a:t>Award Period</a:t>
          </a:r>
          <a:endParaRPr lang="en-US" sz="1000" kern="1200"/>
        </a:p>
      </dsp:txBody>
      <dsp:txXfrm>
        <a:off x="2869421" y="727967"/>
        <a:ext cx="731104" cy="731104"/>
      </dsp:txXfrm>
    </dsp:sp>
    <dsp:sp modelId="{B806CAE7-A3A6-451B-A429-69569B405F4F}">
      <dsp:nvSpPr>
        <dsp:cNvPr id="0" name=""/>
        <dsp:cNvSpPr/>
      </dsp:nvSpPr>
      <dsp:spPr>
        <a:xfrm>
          <a:off x="5949062" y="189727"/>
          <a:ext cx="2067876" cy="1807584"/>
        </a:xfrm>
        <a:prstGeom prst="rightArrow">
          <a:avLst>
            <a:gd name="adj1" fmla="val 70000"/>
            <a:gd name="adj2" fmla="val 50000"/>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1120" tIns="17780" rIns="35560" bIns="177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Arial"/>
            </a:rPr>
            <a:t>Years 6-10</a:t>
          </a:r>
          <a:endParaRPr lang="en-US" sz="2800" kern="1200"/>
        </a:p>
      </dsp:txBody>
      <dsp:txXfrm>
        <a:off x="6466031" y="460865"/>
        <a:ext cx="1008090" cy="1265308"/>
      </dsp:txXfrm>
    </dsp:sp>
    <dsp:sp modelId="{175E4200-B9C5-48A4-8011-2D42A04E82E3}">
      <dsp:nvSpPr>
        <dsp:cNvPr id="0" name=""/>
        <dsp:cNvSpPr/>
      </dsp:nvSpPr>
      <dsp:spPr>
        <a:xfrm>
          <a:off x="5432093" y="576550"/>
          <a:ext cx="1033938" cy="1033938"/>
        </a:xfrm>
        <a:prstGeom prst="ellipse">
          <a:avLst/>
        </a:prstGeom>
        <a:gradFill rotWithShape="0">
          <a:gsLst>
            <a:gs pos="0">
              <a:schemeClr val="accent2">
                <a:shade val="80000"/>
                <a:hueOff val="670975"/>
                <a:satOff val="-57964"/>
                <a:lumOff val="37176"/>
                <a:alphaOff val="0"/>
                <a:shade val="51000"/>
                <a:satMod val="130000"/>
              </a:schemeClr>
            </a:gs>
            <a:gs pos="80000">
              <a:schemeClr val="accent2">
                <a:shade val="80000"/>
                <a:hueOff val="670975"/>
                <a:satOff val="-57964"/>
                <a:lumOff val="37176"/>
                <a:alphaOff val="0"/>
                <a:shade val="93000"/>
                <a:satMod val="130000"/>
              </a:schemeClr>
            </a:gs>
            <a:gs pos="100000">
              <a:schemeClr val="accent2">
                <a:shade val="80000"/>
                <a:hueOff val="670975"/>
                <a:satOff val="-57964"/>
                <a:lumOff val="3717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rtl="0">
            <a:lnSpc>
              <a:spcPct val="90000"/>
            </a:lnSpc>
            <a:spcBef>
              <a:spcPct val="0"/>
            </a:spcBef>
            <a:spcAft>
              <a:spcPct val="35000"/>
            </a:spcAft>
            <a:buNone/>
          </a:pPr>
          <a:r>
            <a:rPr lang="en-US" sz="1000" kern="1200">
              <a:latin typeface="Arial"/>
            </a:rPr>
            <a:t>Compliance Period</a:t>
          </a:r>
          <a:endParaRPr lang="en-US" sz="1000" kern="1200"/>
        </a:p>
      </dsp:txBody>
      <dsp:txXfrm>
        <a:off x="5583510" y="727967"/>
        <a:ext cx="731104" cy="7311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05FB4-36E7-4EBD-82FA-04F31533278E}">
      <dsp:nvSpPr>
        <dsp:cNvPr id="0" name=""/>
        <dsp:cNvSpPr/>
      </dsp:nvSpPr>
      <dsp:spPr>
        <a:xfrm rot="5400000">
          <a:off x="-1020953" y="2046196"/>
          <a:ext cx="2297970" cy="248217"/>
        </a:xfrm>
        <a:prstGeom prst="corner">
          <a:avLst>
            <a:gd name="adj1" fmla="val 1000"/>
            <a:gd name="adj2" fmla="val 1000"/>
          </a:avLst>
        </a:prstGeom>
        <a:solidFill>
          <a:schemeClr val="lt1">
            <a:hueOff val="0"/>
            <a:satOff val="0"/>
            <a:lumOff val="0"/>
            <a:alphaOff val="0"/>
          </a:schemeClr>
        </a:solidFill>
        <a:ln w="9525" cap="flat" cmpd="sng" algn="ctr">
          <a:solidFill>
            <a:schemeClr val="accent2">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7C13B973-82D3-405A-9C11-A2B1628840F9}">
      <dsp:nvSpPr>
        <dsp:cNvPr id="0" name=""/>
        <dsp:cNvSpPr/>
      </dsp:nvSpPr>
      <dsp:spPr>
        <a:xfrm>
          <a:off x="3922" y="3319290"/>
          <a:ext cx="3102722" cy="765990"/>
        </a:xfrm>
        <a:prstGeom prst="homePlate">
          <a:avLst>
            <a:gd name="adj" fmla="val 25000"/>
          </a:avLst>
        </a:prstGeom>
        <a:gradFill rotWithShape="0">
          <a:gsLst>
            <a:gs pos="0">
              <a:schemeClr val="accent2">
                <a:shade val="80000"/>
                <a:hueOff val="0"/>
                <a:satOff val="0"/>
                <a:lumOff val="0"/>
                <a:alphaOff val="0"/>
                <a:shade val="51000"/>
                <a:satMod val="130000"/>
              </a:schemeClr>
            </a:gs>
            <a:gs pos="80000">
              <a:schemeClr val="accent2">
                <a:shade val="80000"/>
                <a:hueOff val="0"/>
                <a:satOff val="0"/>
                <a:lumOff val="0"/>
                <a:alphaOff val="0"/>
                <a:shade val="93000"/>
                <a:satMod val="130000"/>
              </a:schemeClr>
            </a:gs>
            <a:gs pos="100000">
              <a:schemeClr val="accent2">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650" tIns="241300" rIns="120650" bIns="241300" numCol="1" spcCol="1270" anchor="ctr" anchorCtr="0">
          <a:noAutofit/>
        </a:bodyPr>
        <a:lstStyle/>
        <a:p>
          <a:pPr marL="0" lvl="0" indent="0" algn="ctr" defTabSz="844550" rtl="0">
            <a:lnSpc>
              <a:spcPct val="90000"/>
            </a:lnSpc>
            <a:spcBef>
              <a:spcPct val="0"/>
            </a:spcBef>
            <a:spcAft>
              <a:spcPct val="35000"/>
            </a:spcAft>
            <a:buNone/>
          </a:pPr>
          <a:r>
            <a:rPr lang="en-US" sz="1900" b="1" kern="1200">
              <a:solidFill>
                <a:srgbClr val="00597C"/>
              </a:solidFill>
              <a:latin typeface="Calibri"/>
              <a:cs typeface="Calibri"/>
            </a:rPr>
            <a:t> Construction </a:t>
          </a:r>
        </a:p>
      </dsp:txBody>
      <dsp:txXfrm>
        <a:off x="3922" y="3319290"/>
        <a:ext cx="3006973" cy="765990"/>
      </dsp:txXfrm>
    </dsp:sp>
    <dsp:sp modelId="{2D4C4996-D9FA-4F5D-99B0-84F477123B6C}">
      <dsp:nvSpPr>
        <dsp:cNvPr id="0" name=""/>
        <dsp:cNvSpPr/>
      </dsp:nvSpPr>
      <dsp:spPr>
        <a:xfrm>
          <a:off x="252140" y="1170250"/>
          <a:ext cx="2519410" cy="1710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rtl="0">
            <a:lnSpc>
              <a:spcPct val="90000"/>
            </a:lnSpc>
            <a:spcBef>
              <a:spcPct val="0"/>
            </a:spcBef>
            <a:spcAft>
              <a:spcPct val="35000"/>
            </a:spcAft>
            <a:buFont typeface="Wingdings" panose="05000000000000000000" pitchFamily="2" charset="2"/>
            <a:buNone/>
          </a:pPr>
          <a:r>
            <a:rPr lang="en-US" sz="1100" b="1" kern="1200">
              <a:solidFill>
                <a:srgbClr val="00597C"/>
              </a:solidFill>
              <a:latin typeface="Calibri"/>
              <a:cs typeface="Calibri"/>
            </a:rPr>
            <a:t>  </a:t>
          </a:r>
          <a:r>
            <a:rPr lang="en-US" sz="2000" b="1" kern="1200">
              <a:solidFill>
                <a:srgbClr val="00597C"/>
              </a:solidFill>
              <a:latin typeface="Calibri"/>
              <a:cs typeface="Calibri"/>
            </a:rPr>
            <a:t>No tax credits are issued</a:t>
          </a:r>
        </a:p>
        <a:p>
          <a:pPr marL="0" lvl="0" indent="0" algn="l" defTabSz="889000">
            <a:lnSpc>
              <a:spcPct val="90000"/>
            </a:lnSpc>
            <a:spcBef>
              <a:spcPct val="0"/>
            </a:spcBef>
            <a:spcAft>
              <a:spcPct val="35000"/>
            </a:spcAft>
            <a:buNone/>
          </a:pPr>
          <a:endParaRPr lang="en-US" sz="2000" b="1" kern="1200">
            <a:latin typeface="Calibri"/>
            <a:cs typeface="Calibri"/>
          </a:endParaRPr>
        </a:p>
        <a:p>
          <a:pPr marL="0" lvl="0" indent="0" algn="l" defTabSz="889000" rtl="0">
            <a:lnSpc>
              <a:spcPct val="90000"/>
            </a:lnSpc>
            <a:spcBef>
              <a:spcPct val="0"/>
            </a:spcBef>
            <a:spcAft>
              <a:spcPct val="35000"/>
            </a:spcAft>
            <a:buNone/>
          </a:pPr>
          <a:r>
            <a:rPr lang="en-US" sz="2000" b="1" kern="1200">
              <a:solidFill>
                <a:srgbClr val="00597C"/>
              </a:solidFill>
              <a:latin typeface="Calibri"/>
              <a:cs typeface="Calibri"/>
            </a:rPr>
            <a:t>  Awards based on Jobs and Capital Investment</a:t>
          </a:r>
        </a:p>
      </dsp:txBody>
      <dsp:txXfrm>
        <a:off x="252140" y="1170250"/>
        <a:ext cx="2519410" cy="1710807"/>
      </dsp:txXfrm>
    </dsp:sp>
    <dsp:sp modelId="{673ACD46-A612-4546-90E6-D3AAEB80DC2B}">
      <dsp:nvSpPr>
        <dsp:cNvPr id="0" name=""/>
        <dsp:cNvSpPr/>
      </dsp:nvSpPr>
      <dsp:spPr>
        <a:xfrm rot="5400000">
          <a:off x="1988687" y="2046196"/>
          <a:ext cx="2297970" cy="248217"/>
        </a:xfrm>
        <a:prstGeom prst="corner">
          <a:avLst>
            <a:gd name="adj1" fmla="val 1000"/>
            <a:gd name="adj2" fmla="val 1000"/>
          </a:avLst>
        </a:prstGeom>
        <a:solidFill>
          <a:schemeClr val="lt1">
            <a:hueOff val="0"/>
            <a:satOff val="0"/>
            <a:lumOff val="0"/>
            <a:alphaOff val="0"/>
          </a:schemeClr>
        </a:solidFill>
        <a:ln w="9525" cap="flat" cmpd="sng" algn="ctr">
          <a:solidFill>
            <a:schemeClr val="accent2">
              <a:shade val="80000"/>
              <a:hueOff val="335488"/>
              <a:satOff val="-28982"/>
              <a:lumOff val="18588"/>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D257BA06-1635-468F-A7A5-B355C9268036}">
      <dsp:nvSpPr>
        <dsp:cNvPr id="0" name=""/>
        <dsp:cNvSpPr/>
      </dsp:nvSpPr>
      <dsp:spPr>
        <a:xfrm>
          <a:off x="3013563" y="3319290"/>
          <a:ext cx="3102722" cy="765990"/>
        </a:xfrm>
        <a:prstGeom prst="chevron">
          <a:avLst>
            <a:gd name="adj" fmla="val 25000"/>
          </a:avLst>
        </a:prstGeom>
        <a:gradFill rotWithShape="0">
          <a:gsLst>
            <a:gs pos="0">
              <a:schemeClr val="accent2">
                <a:shade val="80000"/>
                <a:hueOff val="335488"/>
                <a:satOff val="-28982"/>
                <a:lumOff val="18588"/>
                <a:alphaOff val="0"/>
                <a:shade val="51000"/>
                <a:satMod val="130000"/>
              </a:schemeClr>
            </a:gs>
            <a:gs pos="80000">
              <a:schemeClr val="accent2">
                <a:shade val="80000"/>
                <a:hueOff val="335488"/>
                <a:satOff val="-28982"/>
                <a:lumOff val="18588"/>
                <a:alphaOff val="0"/>
                <a:shade val="93000"/>
                <a:satMod val="130000"/>
              </a:schemeClr>
            </a:gs>
            <a:gs pos="100000">
              <a:schemeClr val="accent2">
                <a:shade val="80000"/>
                <a:hueOff val="335488"/>
                <a:satOff val="-28982"/>
                <a:lumOff val="1858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650" tIns="241300" rIns="120650" bIns="241300" numCol="1" spcCol="1270" anchor="ctr" anchorCtr="0">
          <a:noAutofit/>
        </a:bodyPr>
        <a:lstStyle/>
        <a:p>
          <a:pPr marL="0" lvl="0" indent="0" algn="ctr" defTabSz="844550" rtl="0">
            <a:lnSpc>
              <a:spcPct val="90000"/>
            </a:lnSpc>
            <a:spcBef>
              <a:spcPct val="0"/>
            </a:spcBef>
            <a:spcAft>
              <a:spcPct val="35000"/>
            </a:spcAft>
            <a:buNone/>
          </a:pPr>
          <a:r>
            <a:rPr lang="en-US" sz="1900" b="1" kern="1200">
              <a:solidFill>
                <a:srgbClr val="00597C"/>
              </a:solidFill>
              <a:latin typeface="Calibri"/>
              <a:cs typeface="Calibri"/>
            </a:rPr>
            <a:t> Year 1-5</a:t>
          </a:r>
        </a:p>
      </dsp:txBody>
      <dsp:txXfrm>
        <a:off x="3205061" y="3319290"/>
        <a:ext cx="2719727" cy="765990"/>
      </dsp:txXfrm>
    </dsp:sp>
    <dsp:sp modelId="{EABF1567-1DFE-472C-B5EC-0B5BF0130567}">
      <dsp:nvSpPr>
        <dsp:cNvPr id="0" name=""/>
        <dsp:cNvSpPr/>
      </dsp:nvSpPr>
      <dsp:spPr>
        <a:xfrm>
          <a:off x="3261781" y="1170250"/>
          <a:ext cx="2519410" cy="1710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rtl="0">
            <a:lnSpc>
              <a:spcPct val="90000"/>
            </a:lnSpc>
            <a:spcBef>
              <a:spcPct val="0"/>
            </a:spcBef>
            <a:spcAft>
              <a:spcPct val="35000"/>
            </a:spcAft>
            <a:buNone/>
          </a:pPr>
          <a:r>
            <a:rPr lang="en-US" sz="2000" b="1" kern="1200">
              <a:solidFill>
                <a:srgbClr val="00597C"/>
              </a:solidFill>
              <a:latin typeface="Calibri"/>
              <a:cs typeface="Calibri"/>
            </a:rPr>
            <a:t>  Award Recalculation</a:t>
          </a:r>
        </a:p>
        <a:p>
          <a:pPr marL="0" lvl="0" indent="0" algn="l" defTabSz="889000">
            <a:lnSpc>
              <a:spcPct val="90000"/>
            </a:lnSpc>
            <a:spcBef>
              <a:spcPct val="0"/>
            </a:spcBef>
            <a:spcAft>
              <a:spcPct val="35000"/>
            </a:spcAft>
            <a:buNone/>
          </a:pPr>
          <a:endParaRPr lang="en-US" sz="2000" b="1" kern="1200">
            <a:latin typeface="Calibri"/>
            <a:cs typeface="Calibri"/>
          </a:endParaRPr>
        </a:p>
        <a:p>
          <a:pPr marL="0" lvl="0" indent="0" algn="l" defTabSz="889000" rtl="0">
            <a:lnSpc>
              <a:spcPct val="90000"/>
            </a:lnSpc>
            <a:spcBef>
              <a:spcPct val="0"/>
            </a:spcBef>
            <a:spcAft>
              <a:spcPct val="35000"/>
            </a:spcAft>
            <a:buNone/>
          </a:pPr>
          <a:r>
            <a:rPr lang="en-US" sz="2000" b="1" kern="1200">
              <a:solidFill>
                <a:srgbClr val="00597C"/>
              </a:solidFill>
              <a:latin typeface="Calibri"/>
              <a:cs typeface="Calibri"/>
            </a:rPr>
            <a:t>   80% Threshold</a:t>
          </a:r>
        </a:p>
        <a:p>
          <a:pPr marL="0" lvl="0" indent="0" algn="l" defTabSz="889000">
            <a:lnSpc>
              <a:spcPct val="90000"/>
            </a:lnSpc>
            <a:spcBef>
              <a:spcPct val="0"/>
            </a:spcBef>
            <a:spcAft>
              <a:spcPct val="35000"/>
            </a:spcAft>
            <a:buNone/>
          </a:pPr>
          <a:endParaRPr lang="en-US" sz="2000" b="1" kern="1200">
            <a:latin typeface="Calibri"/>
            <a:cs typeface="Calibri"/>
          </a:endParaRPr>
        </a:p>
        <a:p>
          <a:pPr marL="0" lvl="0" indent="0" algn="l" defTabSz="889000" rtl="0">
            <a:lnSpc>
              <a:spcPct val="90000"/>
            </a:lnSpc>
            <a:spcBef>
              <a:spcPct val="0"/>
            </a:spcBef>
            <a:spcAft>
              <a:spcPct val="35000"/>
            </a:spcAft>
            <a:buNone/>
          </a:pPr>
          <a:r>
            <a:rPr lang="en-US" sz="2000" b="1" kern="1200">
              <a:solidFill>
                <a:srgbClr val="00597C"/>
              </a:solidFill>
              <a:latin typeface="Calibri"/>
              <a:cs typeface="Calibri"/>
            </a:rPr>
            <a:t>   Forfeiture</a:t>
          </a:r>
        </a:p>
      </dsp:txBody>
      <dsp:txXfrm>
        <a:off x="3261781" y="1170250"/>
        <a:ext cx="2519410" cy="1710807"/>
      </dsp:txXfrm>
    </dsp:sp>
    <dsp:sp modelId="{6FD438A2-5760-434D-B378-7B98CD21CCF6}">
      <dsp:nvSpPr>
        <dsp:cNvPr id="0" name=""/>
        <dsp:cNvSpPr/>
      </dsp:nvSpPr>
      <dsp:spPr>
        <a:xfrm rot="5400000">
          <a:off x="4998327" y="2046196"/>
          <a:ext cx="2297970" cy="248217"/>
        </a:xfrm>
        <a:prstGeom prst="corner">
          <a:avLst>
            <a:gd name="adj1" fmla="val 1000"/>
            <a:gd name="adj2" fmla="val 1000"/>
          </a:avLst>
        </a:prstGeom>
        <a:solidFill>
          <a:schemeClr val="lt1">
            <a:hueOff val="0"/>
            <a:satOff val="0"/>
            <a:lumOff val="0"/>
            <a:alphaOff val="0"/>
          </a:schemeClr>
        </a:solidFill>
        <a:ln w="9525" cap="flat" cmpd="sng" algn="ctr">
          <a:solidFill>
            <a:schemeClr val="accent2">
              <a:shade val="80000"/>
              <a:hueOff val="670975"/>
              <a:satOff val="-57964"/>
              <a:lumOff val="37176"/>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1E82300F-8FF6-4E85-A7E9-728D5FCFB7A1}">
      <dsp:nvSpPr>
        <dsp:cNvPr id="0" name=""/>
        <dsp:cNvSpPr/>
      </dsp:nvSpPr>
      <dsp:spPr>
        <a:xfrm>
          <a:off x="6023203" y="3319290"/>
          <a:ext cx="3102722" cy="765990"/>
        </a:xfrm>
        <a:prstGeom prst="chevron">
          <a:avLst>
            <a:gd name="adj" fmla="val 25000"/>
          </a:avLst>
        </a:prstGeom>
        <a:gradFill rotWithShape="0">
          <a:gsLst>
            <a:gs pos="0">
              <a:schemeClr val="accent2">
                <a:shade val="80000"/>
                <a:hueOff val="670975"/>
                <a:satOff val="-57964"/>
                <a:lumOff val="37176"/>
                <a:alphaOff val="0"/>
                <a:shade val="51000"/>
                <a:satMod val="130000"/>
              </a:schemeClr>
            </a:gs>
            <a:gs pos="80000">
              <a:schemeClr val="accent2">
                <a:shade val="80000"/>
                <a:hueOff val="670975"/>
                <a:satOff val="-57964"/>
                <a:lumOff val="37176"/>
                <a:alphaOff val="0"/>
                <a:shade val="93000"/>
                <a:satMod val="130000"/>
              </a:schemeClr>
            </a:gs>
            <a:gs pos="100000">
              <a:schemeClr val="accent2">
                <a:shade val="80000"/>
                <a:hueOff val="670975"/>
                <a:satOff val="-57964"/>
                <a:lumOff val="3717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0650" tIns="241300" rIns="120650" bIns="241300" numCol="1" spcCol="1270" anchor="ctr" anchorCtr="0">
          <a:noAutofit/>
        </a:bodyPr>
        <a:lstStyle/>
        <a:p>
          <a:pPr marL="0" lvl="0" indent="0" algn="ctr" defTabSz="844550" rtl="0">
            <a:lnSpc>
              <a:spcPct val="90000"/>
            </a:lnSpc>
            <a:spcBef>
              <a:spcPct val="0"/>
            </a:spcBef>
            <a:spcAft>
              <a:spcPct val="35000"/>
            </a:spcAft>
            <a:buNone/>
          </a:pPr>
          <a:r>
            <a:rPr lang="en-US" sz="1900" b="1" kern="1200">
              <a:solidFill>
                <a:srgbClr val="00597C"/>
              </a:solidFill>
              <a:latin typeface="Calibri"/>
              <a:cs typeface="Calibri"/>
            </a:rPr>
            <a:t> Year 6-10</a:t>
          </a:r>
        </a:p>
      </dsp:txBody>
      <dsp:txXfrm>
        <a:off x="6214701" y="3319290"/>
        <a:ext cx="2719727" cy="765990"/>
      </dsp:txXfrm>
    </dsp:sp>
    <dsp:sp modelId="{FD37FCAD-23B5-45F4-8ADA-1A3364EA1DB2}">
      <dsp:nvSpPr>
        <dsp:cNvPr id="0" name=""/>
        <dsp:cNvSpPr/>
      </dsp:nvSpPr>
      <dsp:spPr>
        <a:xfrm>
          <a:off x="6271421" y="1170250"/>
          <a:ext cx="2519410" cy="1710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rtl="0">
            <a:lnSpc>
              <a:spcPct val="90000"/>
            </a:lnSpc>
            <a:spcBef>
              <a:spcPct val="0"/>
            </a:spcBef>
            <a:spcAft>
              <a:spcPct val="35000"/>
            </a:spcAft>
            <a:buFont typeface="Wingdings" panose="05000000000000000000" pitchFamily="2" charset="2"/>
            <a:buNone/>
          </a:pPr>
          <a:r>
            <a:rPr lang="en-US" sz="1100" b="1" kern="1200">
              <a:solidFill>
                <a:srgbClr val="00597C"/>
              </a:solidFill>
              <a:latin typeface="Calibri"/>
              <a:cs typeface="Calibri"/>
            </a:rPr>
            <a:t>  </a:t>
          </a:r>
          <a:r>
            <a:rPr lang="en-US" sz="2000" b="1" kern="1200">
              <a:solidFill>
                <a:srgbClr val="00597C"/>
              </a:solidFill>
              <a:latin typeface="Calibri"/>
              <a:cs typeface="Calibri"/>
            </a:rPr>
            <a:t>80% Threshold</a:t>
          </a:r>
        </a:p>
        <a:p>
          <a:pPr marL="0" lvl="0" indent="0" algn="l" defTabSz="889000">
            <a:lnSpc>
              <a:spcPct val="90000"/>
            </a:lnSpc>
            <a:spcBef>
              <a:spcPct val="0"/>
            </a:spcBef>
            <a:spcAft>
              <a:spcPct val="35000"/>
            </a:spcAft>
            <a:buFont typeface="Wingdings" panose="05000000000000000000" pitchFamily="2" charset="2"/>
            <a:buNone/>
          </a:pPr>
          <a:endParaRPr lang="en-US" sz="2000" b="1" kern="1200">
            <a:latin typeface="Calibri"/>
            <a:cs typeface="Calibri"/>
          </a:endParaRPr>
        </a:p>
        <a:p>
          <a:pPr marL="0" lvl="0" indent="0" algn="l" defTabSz="889000" rtl="0">
            <a:lnSpc>
              <a:spcPct val="90000"/>
            </a:lnSpc>
            <a:spcBef>
              <a:spcPct val="0"/>
            </a:spcBef>
            <a:spcAft>
              <a:spcPct val="35000"/>
            </a:spcAft>
            <a:buFont typeface="Wingdings" panose="05000000000000000000" pitchFamily="2" charset="2"/>
            <a:buNone/>
          </a:pPr>
          <a:r>
            <a:rPr lang="en-US" sz="2000" b="1" kern="1200">
              <a:solidFill>
                <a:srgbClr val="00597C"/>
              </a:solidFill>
              <a:latin typeface="Calibri"/>
              <a:cs typeface="Calibri"/>
            </a:rPr>
            <a:t>  Recapture and Terminate</a:t>
          </a:r>
        </a:p>
        <a:p>
          <a:pPr marL="0" lvl="0" indent="0" algn="l" defTabSz="889000">
            <a:lnSpc>
              <a:spcPct val="90000"/>
            </a:lnSpc>
            <a:spcBef>
              <a:spcPct val="0"/>
            </a:spcBef>
            <a:spcAft>
              <a:spcPct val="35000"/>
            </a:spcAft>
            <a:buFont typeface="Wingdings" panose="05000000000000000000" pitchFamily="2" charset="2"/>
            <a:buNone/>
          </a:pPr>
          <a:endParaRPr lang="en-US" sz="2000" b="1" kern="1200">
            <a:latin typeface="Calibri"/>
            <a:cs typeface="Calibri"/>
          </a:endParaRPr>
        </a:p>
        <a:p>
          <a:pPr marL="0" lvl="0" indent="0" algn="l" defTabSz="889000" rtl="0">
            <a:lnSpc>
              <a:spcPct val="90000"/>
            </a:lnSpc>
            <a:spcBef>
              <a:spcPct val="0"/>
            </a:spcBef>
            <a:spcAft>
              <a:spcPct val="35000"/>
            </a:spcAft>
            <a:buFont typeface="Wingdings" panose="05000000000000000000" pitchFamily="2" charset="2"/>
            <a:buNone/>
          </a:pPr>
          <a:r>
            <a:rPr lang="en-US" sz="2000" b="1" kern="1200">
              <a:solidFill>
                <a:srgbClr val="00597C"/>
              </a:solidFill>
              <a:latin typeface="Calibri"/>
              <a:cs typeface="Calibri"/>
            </a:rPr>
            <a:t>  Grace period</a:t>
          </a:r>
        </a:p>
      </dsp:txBody>
      <dsp:txXfrm>
        <a:off x="6271421" y="1170250"/>
        <a:ext cx="2519410" cy="17108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282780-708C-4C8B-8CA9-DEC65CD066A0}">
      <dsp:nvSpPr>
        <dsp:cNvPr id="0" name=""/>
        <dsp:cNvSpPr/>
      </dsp:nvSpPr>
      <dsp:spPr>
        <a:xfrm>
          <a:off x="2654853" y="-125960"/>
          <a:ext cx="3167701" cy="2547260"/>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a:latin typeface="Calibri"/>
              <a:cs typeface="Calibri"/>
            </a:rPr>
            <a:t>The Next NJ Program-AI presents an exciting opportunity for businesses looking to grow or establish themselves in a state dedicated to innovation and economic expansion.</a:t>
          </a:r>
        </a:p>
      </dsp:txBody>
      <dsp:txXfrm>
        <a:off x="3446778" y="-125960"/>
        <a:ext cx="1583851" cy="2101490"/>
      </dsp:txXfrm>
    </dsp:sp>
    <dsp:sp modelId="{D95406A9-4F02-4CCD-B30B-3EA27823815A}">
      <dsp:nvSpPr>
        <dsp:cNvPr id="0" name=""/>
        <dsp:cNvSpPr/>
      </dsp:nvSpPr>
      <dsp:spPr>
        <a:xfrm rot="7200000">
          <a:off x="4533258" y="2172370"/>
          <a:ext cx="2211275" cy="2801003"/>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latin typeface="Calibri"/>
              <a:cs typeface="Calibri"/>
            </a:rPr>
            <a:t>It's a mutually beneficial arrangement, drawing substantial investments to New Jersey and promoting sustained job growth. </a:t>
          </a:r>
        </a:p>
      </dsp:txBody>
      <dsp:txXfrm rot="-5400000">
        <a:off x="4599445" y="3116796"/>
        <a:ext cx="2414030" cy="1105637"/>
      </dsp:txXfrm>
    </dsp:sp>
    <dsp:sp modelId="{36990370-0397-455F-9418-1C9F1E763224}">
      <dsp:nvSpPr>
        <dsp:cNvPr id="0" name=""/>
        <dsp:cNvSpPr/>
      </dsp:nvSpPr>
      <dsp:spPr>
        <a:xfrm rot="14400000">
          <a:off x="1628367" y="2189651"/>
          <a:ext cx="2420291" cy="2766441"/>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en-US" sz="1500" kern="1200" baseline="0">
              <a:latin typeface="Calibri"/>
              <a:cs typeface="Calibri"/>
            </a:rPr>
            <a:t>The Next NJ Program-AI will </a:t>
          </a:r>
          <a:r>
            <a:rPr lang="en-US" sz="1500" kern="1200">
              <a:latin typeface="Calibri"/>
              <a:cs typeface="Calibri"/>
            </a:rPr>
            <a:t>reinforce New Jersey's status as a frontrunner in the innovation economy. </a:t>
          </a:r>
        </a:p>
      </dsp:txBody>
      <dsp:txXfrm rot="5400000">
        <a:off x="1483665" y="3073686"/>
        <a:ext cx="2342890" cy="121014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16/7/layout/AccentHomeChevronProcess">
  <dgm:title val="Accent Home Chevron Process"/>
  <dgm:desc val="Use to show a progression; a timeline; sequential steps in a task, process, or workflow; or to emphasize movement or direction. Level 1 text appears inside an chevron shape, except the first shape which comes in a home shape, while Level 2 text appears above the invisible rectangle shapes."/>
  <dgm:catLst>
    <dgm:cat type="process" pri="500"/>
    <dgm:cat type="timeline"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contrsBasedOnsibTransCount">
      <dgm:if name="oneSibTrans" axis="ch" ptType="sibTrans" func="cnt" op="equ" val="1">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2"/>
          <dgm:constr type="w" for="ch" ptType="sibTrans" op="equ"/>
        </dgm:constrLst>
      </dgm:if>
      <dgm:else name="moreThanOneSibTrans">
        <dgm:choose name="contrsForMoreThanOneSibTrans">
          <dgm:if name="twoSibTrans" axis="ch" ptType="sibTrans" func="cnt" op="equ" val="2">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3"/>
              <dgm:constr type="w" for="ch" ptType="sibTrans" op="equ"/>
            </dgm:constrLst>
          </dgm:if>
          <dgm:else name="moreThanTwoSibTrans">
            <dgm:choose name="contrsForMoreThanTwoSibTrans">
              <dgm:if name="threeSibTrans" axis="ch" ptType="sibTrans" func="cnt" op="equ" val="3">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4"/>
                  <dgm:constr type="w" for="ch" ptType="sibTrans" op="equ"/>
                </dgm:constrLst>
              </dgm:if>
              <dgm:else name="moreThanThreeSibTrans">
                <dgm:choose name="contrsForMoreThanThreeSibTrans">
                  <dgm:if name="fourToSixSibTrans" axis="ch" ptType="sibTrans" func="cnt" op="lte" val="6">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5"/>
                      <dgm:constr type="w" for="ch" ptType="sibTrans" op="equ"/>
                    </dgm:constrLst>
                  </dgm:if>
                  <dgm:else name="moreThanSixSibTrans">
                    <dgm:choose name="contrsForMoreThanSixSibTrans">
                      <dgm:if name="sevenToEightSibTrans" axis="ch" ptType="sibTrans" func="cnt" op="lte" val="8">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7"/>
                          <dgm:constr type="w" for="ch" ptType="sibTrans" op="equ"/>
                        </dgm:constrLst>
                      </dgm:if>
                      <dgm:else name="moreThanEightSibTrans">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9"/>
                          <dgm:constr type="w" for="ch" ptType="sibTrans" op="equ"/>
                        </dgm:constrLst>
                      </dgm:else>
                    </dgm:choose>
                  </dgm:else>
                </dgm:choose>
              </dgm:else>
            </dgm:choose>
          </dgm:else>
        </dgm:choose>
      </dgm:else>
    </dgm:choose>
    <dgm:ruleLst/>
    <dgm:forEach name="Name6" axis="ch" ptType="node">
      <dgm:layoutNode name="composite">
        <dgm:alg type="composite"/>
        <dgm:shape xmlns:r="http://schemas.openxmlformats.org/officeDocument/2006/relationships" r:blip="">
          <dgm:adjLst/>
        </dgm:shape>
        <dgm:presOf/>
        <dgm:choose name="LayoutLTRorRTL">
          <dgm:if name="LayoutLTR" func="var" arg="dir" op="equ" val="norm">
            <dgm:constrLst>
              <dgm:constr type="w" for="ch" forName="L" refType="w" fact="0.08"/>
              <dgm:constr type="h" for="ch" forName="L" refType="h" fact="0.75"/>
              <dgm:constr type="l" for="ch" forName="L"/>
              <dgm:constr type="l" for="ch" forName="parTx"/>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l" for="ch" forName="desTx" refType="r" refFor="ch" refForName="L"/>
              <dgm:constr type="w" for="ch" forName="desTx" refType="w" fact="0.812"/>
              <dgm:constr type="w" for="ch" forName="EmptyPlaceHolder" refType="w" fact="0.82"/>
              <dgm:constr type="l" for="ch" forName="EmptyPlaceHolder" refType="r" refFor="ch" refForName="L"/>
              <dgm:constr type="b" for="ch" forName="EmptyPlaceHolder" refType="b" refFor="ch" refForName="L"/>
              <dgm:constr type="h" for="ch" forName="EmptyPlaceHolder" refType="t" refFor="ch" refForName="desTx"/>
            </dgm:constrLst>
          </dgm:if>
          <dgm:else name="LayoutRTL">
            <dgm:constrLst>
              <dgm:constr type="w" for="ch" forName="L" refType="w" fact="0.08"/>
              <dgm:constr type="h" for="ch" forName="L" refType="h" fact="0.75"/>
              <dgm:constr type="r" for="ch" forName="L" refType="w"/>
              <dgm:constr type="r" for="ch" forName="parTx" refType="w"/>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r" for="ch" forName="desTx" refType="l" refFor="ch" refForName="L"/>
              <dgm:constr type="w" for="ch" forName="desTx" refType="w" fact="0.812"/>
              <dgm:constr type="w" for="ch" forName="EmptyPlaceHolder" refType="w" fact="0.82"/>
              <dgm:constr type="h" for="ch" forName="EmptyPlaceHolder" refType="w" refFor="ch" refForName="L" fact="0.6"/>
              <dgm:constr type="b" for="ch" forName="EmptyPlaceHolder" refType="b" refFor="ch" refForName="L"/>
            </dgm:constrLst>
          </dgm:else>
        </dgm:choose>
        <dgm:layoutNode name="L" styleLbl="solidFgAcc1" moveWith="parTx">
          <dgm:varLst>
            <dgm:chMax val="0"/>
            <dgm:chPref val="0"/>
          </dgm:varLst>
          <dgm:alg type="sp"/>
          <dgm:choose name="Name310">
            <dgm:if name="Name311" func="var" arg="dir" op="equ" val="norm">
              <dgm:shape xmlns:r="http://schemas.openxmlformats.org/officeDocument/2006/relationships" rot="90" type="corner" r:blip="">
                <dgm:adjLst>
                  <dgm:adj idx="1" val="0.01"/>
                  <dgm:adj idx="2" val="0.01"/>
                </dgm:adjLst>
              </dgm:shape>
            </dgm:if>
            <dgm:else name="Name312">
              <dgm:shape xmlns:r="http://schemas.openxmlformats.org/officeDocument/2006/relationships" rot="180" type="corner" r:blip="">
                <dgm:adjLst>
                  <dgm:adj idx="1" val="0.01"/>
                  <dgm:adj idx="2" val="0.01"/>
                </dgm:adjLst>
              </dgm:shape>
            </dgm:else>
          </dgm:choose>
          <dgm:presOf/>
          <dgm:constrLst/>
          <dgm:ruleLst/>
        </dgm:layoutNode>
        <dgm:layoutNode name="parTx" styleLbl="alignNode1">
          <dgm:varLst>
            <dgm:chMax val="0"/>
            <dgm:chPref val="0"/>
            <dgm:bulletEnabled val="1"/>
          </dgm:varLst>
          <dgm:alg type="tx">
            <dgm:param type="txAnchorVert" val="mid"/>
            <dgm:param type="parTxLTRAlign" val="ctr"/>
            <dgm:param type="parTxRTLAlign" val="ctr"/>
          </dgm:alg>
          <dgm:choose name="MakeFirstNodeHomePlate">
            <dgm:if name="IfFirstNode" axis="self" ptType="node" func="pos" op="equ" val="1">
              <dgm:choose name="Name110">
                <dgm:if name="Name111" func="var" arg="dir" op="equ" val="norm">
                  <dgm:shape xmlns:r="http://schemas.openxmlformats.org/officeDocument/2006/relationships" type="homePlate" r:blip="">
                    <dgm:adjLst>
                      <dgm:adj idx="1" val="0.25"/>
                    </dgm:adjLst>
                  </dgm:shape>
                </dgm:if>
                <dgm:else name="Name112">
                  <dgm:shape xmlns:r="http://schemas.openxmlformats.org/officeDocument/2006/relationships" rot="180" type="homePlate" r:blip="">
                    <dgm:adjLst>
                      <dgm:adj idx="1" val="0.25"/>
                    </dgm:adjLst>
                  </dgm:shape>
                </dgm:else>
              </dgm:choose>
            </dgm:if>
            <dgm:else name="MakeRestOfNodesChevrons">
              <dgm:choose name="Name10">
                <dgm:if name="Name11" func="var" arg="dir" op="equ" val="norm">
                  <dgm:shape xmlns:r="http://schemas.openxmlformats.org/officeDocument/2006/relationships" type="chevron" r:blip="">
                    <dgm:adjLst>
                      <dgm:adj idx="1" val="0.25"/>
                    </dgm:adjLst>
                  </dgm:shape>
                </dgm:if>
                <dgm:else name="Name12">
                  <dgm:shape xmlns:r="http://schemas.openxmlformats.org/officeDocument/2006/relationships" rot="180" type="chevron" r:blip="">
                    <dgm:adjLst>
                      <dgm:adj idx="1" val="0.25"/>
                    </dgm:adjLst>
                  </dgm:shape>
                </dgm:else>
              </dgm:choose>
            </dgm:else>
          </dgm:choose>
          <dgm:presOf axis="self" ptType="node"/>
          <dgm:constrLst>
            <dgm:constr type="tMarg" refType="primFontSz"/>
            <dgm:constr type="bMarg" refType="primFontSz"/>
            <dgm:constr type="lMarg" refType="primFontSz" fact="0.5"/>
            <dgm:constr type="rMarg" refType="primFontSz" fact="0.5"/>
          </dgm:constrLst>
          <dgm:ruleLst>
            <dgm:rule type="primFontSz" val="13" fact="NaN" max="NaN"/>
          </dgm:ruleLst>
        </dgm:layoutNode>
        <dgm:layoutNode name="desTx" styleLbl="revTx" moveWith="parTx">
          <dgm:varLst>
            <dgm:chMax val="0"/>
            <dgm:chPref val="0"/>
            <dgm:bulletEnabled val="1"/>
          </dgm:varLst>
          <dgm:choose name="Name210">
            <dgm:if name="Name211" func="var" arg="dir" op="equ" val="norm">
              <dgm:alg type="tx">
                <dgm:param type="txAnchorVert" val="t"/>
                <dgm:param type="parTxLTRAlign" val="l"/>
                <dgm:param type="shpTxLTRAlignCh" val="l"/>
                <dgm:param type="parTxRTLAlign" val="l"/>
                <dgm:param type="shpTxRTLAlignCh" val="l"/>
              </dgm:alg>
            </dgm:if>
            <dgm:else name="Name212">
              <dgm:alg type="tx">
                <dgm:param type="txAnchorVert" val="t"/>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 ptType="node"/>
          <dgm:constrLst>
            <dgm:constr type="tMarg"/>
            <dgm:constr type="bMarg"/>
            <dgm:constr type="lMarg"/>
            <dgm:constr type="rMarg"/>
          </dgm:constrLst>
          <dgm:ruleLst>
            <dgm:rule type="primFontSz" val="11" fact="NaN" max="NaN"/>
            <dgm:rule type="secFontSz" val="9" fact="NaN" max="NaN"/>
          </dgm:ruleLst>
        </dgm:layoutNode>
        <dgm:layoutNode name="EmptyPlaceHolder">
          <dgm:alg type="sp"/>
          <dgm:shape xmlns:r="http://schemas.openxmlformats.org/officeDocument/2006/relationships" r:blip="">
            <dgm:adjLst/>
          </dgm:shape>
          <dgm:presOf/>
          <dgm:constr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DB93EF0-5342-43CB-884E-F4677628B46B}"/>
              </a:ext>
            </a:extLst>
          </p:cNvPr>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a:extLst>
              <a:ext uri="{FF2B5EF4-FFF2-40B4-BE49-F238E27FC236}">
                <a16:creationId xmlns:a16="http://schemas.microsoft.com/office/drawing/2014/main" id="{147BEC28-CDB9-41AC-ABA9-FFF19C6168A0}"/>
              </a:ext>
            </a:extLst>
          </p:cNvPr>
          <p:cNvSpPr>
            <a:spLocks noGrp="1"/>
          </p:cNvSpPr>
          <p:nvPr>
            <p:ph type="dt" sz="quarter" idx="1"/>
          </p:nvPr>
        </p:nvSpPr>
        <p:spPr>
          <a:xfrm>
            <a:off x="3970939" y="0"/>
            <a:ext cx="3037840" cy="466435"/>
          </a:xfrm>
          <a:prstGeom prst="rect">
            <a:avLst/>
          </a:prstGeom>
        </p:spPr>
        <p:txBody>
          <a:bodyPr vert="horz" lIns="93175" tIns="46587" rIns="93175" bIns="46587" rtlCol="0"/>
          <a:lstStyle>
            <a:lvl1pPr algn="r">
              <a:defRPr sz="1200"/>
            </a:lvl1pPr>
          </a:lstStyle>
          <a:p>
            <a:fld id="{7D79B1DB-CD70-47D9-830C-5EB2D2C5AE4F}" type="datetimeFigureOut">
              <a:rPr lang="en-US" smtClean="0"/>
              <a:t>11/22/2024</a:t>
            </a:fld>
            <a:endParaRPr lang="en-US"/>
          </a:p>
        </p:txBody>
      </p:sp>
      <p:sp>
        <p:nvSpPr>
          <p:cNvPr id="4" name="Footer Placeholder 3">
            <a:extLst>
              <a:ext uri="{FF2B5EF4-FFF2-40B4-BE49-F238E27FC236}">
                <a16:creationId xmlns:a16="http://schemas.microsoft.com/office/drawing/2014/main" id="{2CA76944-8286-48EA-B4E8-D3ADF85910AA}"/>
              </a:ext>
            </a:extLst>
          </p:cNvPr>
          <p:cNvSpPr>
            <a:spLocks noGrp="1"/>
          </p:cNvSpPr>
          <p:nvPr>
            <p:ph type="ftr" sz="quarter" idx="2"/>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7479D38-A147-4255-9918-1F2BC547AE93}"/>
              </a:ext>
            </a:extLst>
          </p:cNvPr>
          <p:cNvSpPr>
            <a:spLocks noGrp="1"/>
          </p:cNvSpPr>
          <p:nvPr>
            <p:ph type="sldNum" sz="quarter" idx="3"/>
          </p:nvPr>
        </p:nvSpPr>
        <p:spPr>
          <a:xfrm>
            <a:off x="3970939" y="8829968"/>
            <a:ext cx="3037840" cy="466434"/>
          </a:xfrm>
          <a:prstGeom prst="rect">
            <a:avLst/>
          </a:prstGeom>
        </p:spPr>
        <p:txBody>
          <a:bodyPr vert="horz" lIns="93175" tIns="46587" rIns="93175" bIns="46587" rtlCol="0" anchor="b"/>
          <a:lstStyle>
            <a:lvl1pPr algn="r">
              <a:defRPr sz="1200"/>
            </a:lvl1pPr>
          </a:lstStyle>
          <a:p>
            <a:fld id="{81DE28D8-A48D-4CBA-9908-887F6341B22C}" type="slidenum">
              <a:rPr lang="en-US" smtClean="0"/>
              <a:t>‹#›</a:t>
            </a:fld>
            <a:endParaRPr lang="en-US"/>
          </a:p>
        </p:txBody>
      </p:sp>
    </p:spTree>
    <p:extLst>
      <p:ext uri="{BB962C8B-B14F-4D97-AF65-F5344CB8AC3E}">
        <p14:creationId xmlns:p14="http://schemas.microsoft.com/office/powerpoint/2010/main" val="5085333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75" tIns="46587" rIns="93175" bIns="46587" rtlCol="0"/>
          <a:lstStyle>
            <a:lvl1pPr algn="r">
              <a:defRPr sz="1200"/>
            </a:lvl1pPr>
          </a:lstStyle>
          <a:p>
            <a:fld id="{3E5B7D62-AC37-4EB1-BC1C-1D1B0151F01A}" type="datetimeFigureOut">
              <a:rPr lang="en-US" smtClean="0"/>
              <a:t>11/22/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75" tIns="46587" rIns="93175" bIns="4658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5" tIns="46587" rIns="93175" bIns="46587" rtlCol="0" anchor="b"/>
          <a:lstStyle>
            <a:lvl1pPr algn="r">
              <a:defRPr sz="1200"/>
            </a:lvl1pPr>
          </a:lstStyle>
          <a:p>
            <a:fld id="{80E8391B-3023-4E9E-9F52-56487EDDE7E3}" type="slidenum">
              <a:rPr lang="en-US" smtClean="0"/>
              <a:t>‹#›</a:t>
            </a:fld>
            <a:endParaRPr lang="en-US"/>
          </a:p>
        </p:txBody>
      </p:sp>
    </p:spTree>
    <p:extLst>
      <p:ext uri="{BB962C8B-B14F-4D97-AF65-F5344CB8AC3E}">
        <p14:creationId xmlns:p14="http://schemas.microsoft.com/office/powerpoint/2010/main" val="3386015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njeda.gov/nextnjai"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E8391B-3023-4E9E-9F52-56487EDDE7E3}" type="slidenum">
              <a:rPr lang="en-US" smtClean="0"/>
              <a:t>1</a:t>
            </a:fld>
            <a:endParaRPr lang="en-US"/>
          </a:p>
        </p:txBody>
      </p:sp>
    </p:spTree>
    <p:extLst>
      <p:ext uri="{BB962C8B-B14F-4D97-AF65-F5344CB8AC3E}">
        <p14:creationId xmlns:p14="http://schemas.microsoft.com/office/powerpoint/2010/main" val="3598831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Companies must maintain a record of good standing with the New Jersey Department of Treasury, Department of Labor and Workforce Development, and Department of Environmental Protection. Additionally, construction and building services contracts must comply with New Jersey’s prevailing wage and labor requirements. To ensure sustainability, companies must also meet the minimum environmental and sustainability standards set by the Authority, in alignment with the green building manual prepared by the Commissioner of the Department of Community Affairs.</a:t>
            </a: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2</a:t>
            </a:fld>
            <a:endParaRPr lang="en-US"/>
          </a:p>
        </p:txBody>
      </p:sp>
    </p:spTree>
    <p:extLst>
      <p:ext uri="{BB962C8B-B14F-4D97-AF65-F5344CB8AC3E}">
        <p14:creationId xmlns:p14="http://schemas.microsoft.com/office/powerpoint/2010/main" val="657013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A major component of this program focuses on AI and AI-related activities. But what exactly does that encompass? AI-related activities include, but are not limited to: developing AI algorithms (e.g., machine learning, Natural Language Processing( Virtual assistants, Siri, Alexa, Cortana, </a:t>
            </a:r>
            <a:r>
              <a:rPr lang="en-US" err="1"/>
              <a:t>Etc</a:t>
            </a:r>
            <a:r>
              <a:rPr lang="en-US"/>
              <a:t>), computer vision), creating AI-powered software and hardware, medical AI modeling, building AI chatbots, developing AI for vehicles, and managing the data needed to train AI models.</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3</a:t>
            </a:fld>
            <a:endParaRPr lang="en-US"/>
          </a:p>
        </p:txBody>
      </p:sp>
    </p:spTree>
    <p:extLst>
      <p:ext uri="{BB962C8B-B14F-4D97-AF65-F5344CB8AC3E}">
        <p14:creationId xmlns:p14="http://schemas.microsoft.com/office/powerpoint/2010/main" val="1275582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is collaboration requirement is designed to create powerful synergies that amplify results and strengthen New Jersey’s growing AI ecosystem. A Collaborative Relationship refers to the partnership between an eligible business and a New Jersey-based public or private research university, technology startup, or both, throughout the commitment period. Renewed annually, this partnership can involve a range of activities, such as offering price concessions, providing AI support services, or launching other AI-related initiatives, all guided by the Authority’s Board. The total value of this collaboration must equal at least 10% of the award, driving innovation and fostering impactful growth in the state.</a:t>
            </a:r>
          </a:p>
        </p:txBody>
      </p:sp>
      <p:sp>
        <p:nvSpPr>
          <p:cNvPr id="4" name="Slide Number Placeholder 3"/>
          <p:cNvSpPr>
            <a:spLocks noGrp="1"/>
          </p:cNvSpPr>
          <p:nvPr>
            <p:ph type="sldNum" sz="quarter" idx="5"/>
          </p:nvPr>
        </p:nvSpPr>
        <p:spPr/>
        <p:txBody>
          <a:bodyPr/>
          <a:lstStyle/>
          <a:p>
            <a:fld id="{80E8391B-3023-4E9E-9F52-56487EDDE7E3}" type="slidenum">
              <a:rPr lang="en-US" smtClean="0"/>
              <a:t>14</a:t>
            </a:fld>
            <a:endParaRPr lang="en-US"/>
          </a:p>
        </p:txBody>
      </p:sp>
    </p:spTree>
    <p:extLst>
      <p:ext uri="{BB962C8B-B14F-4D97-AF65-F5344CB8AC3E}">
        <p14:creationId xmlns:p14="http://schemas.microsoft.com/office/powerpoint/2010/main" val="3688758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Let's take for instance an eligible AI business partnering with a New Jersey-based research university for a 10-year collaboration. Throughout this partnership, the business can receive a variety of valuable support, such as price discounts on research services, AI development assistance, or access to cutting-edge AI resources. The total value of this collaboration—including price concessions and AI support services—must equal at least 10% of the business’s tax incentive award.</a:t>
            </a:r>
          </a:p>
          <a:p>
            <a:r>
              <a:rPr lang="en-US"/>
              <a:t>For example, if the company qualifies for a $100 million award, the collaboration with the New Jersey-based research university must provide at least $10 million in value over the 10-year commitment.</a:t>
            </a:r>
            <a:endParaRPr lang="en-US">
              <a:cs typeface="Calibri"/>
            </a:endParaRP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5</a:t>
            </a:fld>
            <a:endParaRPr lang="en-US"/>
          </a:p>
        </p:txBody>
      </p:sp>
    </p:spTree>
    <p:extLst>
      <p:ext uri="{BB962C8B-B14F-4D97-AF65-F5344CB8AC3E}">
        <p14:creationId xmlns:p14="http://schemas.microsoft.com/office/powerpoint/2010/main" val="990011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lvl="1"/>
            <a:r>
              <a:rPr lang="en-US"/>
              <a:t>The 10-year commitment to New Jersey involves a structured process for receiving and maintaining tax credits. During the first five years, known as the award period, the eligible business receives tax credits. The business has up to four years to certify its compliance, with years 1-5 dedicated to the award period. Following this, years 6-10 represent the compliance period, where the business must continue to meet the requirements to maintain its eligibility and ensure long-term commitment to the state.</a:t>
            </a:r>
          </a:p>
          <a:p>
            <a:pPr marL="0" lvl="1">
              <a:spcBef>
                <a:spcPts val="1200"/>
              </a:spcBef>
            </a:pP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6</a:t>
            </a:fld>
            <a:endParaRPr lang="en-US"/>
          </a:p>
        </p:txBody>
      </p:sp>
    </p:spTree>
    <p:extLst>
      <p:ext uri="{BB962C8B-B14F-4D97-AF65-F5344CB8AC3E}">
        <p14:creationId xmlns:p14="http://schemas.microsoft.com/office/powerpoint/2010/main" val="20771396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 tax credit is determined by one calculation with two options for maximums. </a:t>
            </a:r>
          </a:p>
          <a:p>
            <a:pPr marL="171450" indent="-171450">
              <a:buFont typeface="Arial"/>
              <a:buChar char="•"/>
            </a:pPr>
            <a:r>
              <a:rPr lang="en-US" b="1"/>
              <a:t>0.1%</a:t>
            </a:r>
            <a:r>
              <a:rPr lang="en-US"/>
              <a:t> of the eligible business's total capital investment, multiplied by the number of new full-time jobs created.</a:t>
            </a:r>
            <a:endParaRPr lang="en-US">
              <a:cs typeface="Calibri"/>
            </a:endParaRPr>
          </a:p>
          <a:p>
            <a:pPr marL="171450" indent="-171450">
              <a:buFont typeface="Arial"/>
              <a:buChar char="•"/>
            </a:pPr>
            <a:r>
              <a:rPr lang="en-US" b="1"/>
              <a:t>25%</a:t>
            </a:r>
            <a:r>
              <a:rPr lang="en-US"/>
              <a:t> of the businesses total capital investment or </a:t>
            </a:r>
          </a:p>
          <a:p>
            <a:pPr marL="171450" indent="-171450">
              <a:buFont typeface="Arial"/>
              <a:buChar char="•"/>
            </a:pPr>
            <a:r>
              <a:rPr lang="en-US"/>
              <a:t>a maximum award of </a:t>
            </a:r>
            <a:r>
              <a:rPr lang="en-US" b="1"/>
              <a:t>$250 million</a:t>
            </a:r>
            <a:r>
              <a:rPr lang="en-US"/>
              <a:t>.</a:t>
            </a:r>
            <a:endParaRPr lang="en-US">
              <a:cs typeface="Calibri"/>
            </a:endParaRPr>
          </a:p>
          <a:p>
            <a:r>
              <a:rPr lang="en-US"/>
              <a:t>If an AI company proposes to create 165 new jobs and invest $500 million, the potential tax incentive is calculated using method </a:t>
            </a:r>
            <a:r>
              <a:rPr lang="en-US" b="1"/>
              <a:t>one</a:t>
            </a:r>
            <a:r>
              <a:rPr lang="en-US"/>
              <a:t>, with the final award determined by the lowest of the three: Let's do the math!</a:t>
            </a:r>
            <a:endParaRPr lang="en-US">
              <a:cs typeface="Calibri"/>
            </a:endParaRPr>
          </a:p>
          <a:p>
            <a:pPr marL="171450" indent="-171450">
              <a:buFont typeface="Arial"/>
              <a:buChar char="•"/>
            </a:pPr>
            <a:r>
              <a:rPr lang="en-US" b="1"/>
              <a:t>Method 1</a:t>
            </a:r>
            <a:r>
              <a:rPr lang="en-US"/>
              <a:t>: Multiply 0.1% by the capital investment of $500 million, then multiply that result by 165 jobs. This gives us an award of $82,500,000.</a:t>
            </a:r>
            <a:endParaRPr lang="en-US">
              <a:cs typeface="Calibri"/>
            </a:endParaRPr>
          </a:p>
          <a:p>
            <a:pPr marL="171450" indent="-171450">
              <a:buFont typeface="Arial"/>
              <a:buChar char="•"/>
            </a:pPr>
            <a:r>
              <a:rPr lang="en-US" b="1"/>
              <a:t>Option 2 (Max Percentage) </a:t>
            </a:r>
            <a:r>
              <a:rPr lang="en-US"/>
              <a:t>: Simply take 25% of the $500 million capital investment, which equals $125,000,000.</a:t>
            </a:r>
            <a:endParaRPr lang="en-US">
              <a:cs typeface="Calibri"/>
            </a:endParaRPr>
          </a:p>
          <a:p>
            <a:pPr marL="171450" indent="-171450">
              <a:buFont typeface="Arial"/>
              <a:buChar char="•"/>
            </a:pPr>
            <a:r>
              <a:rPr lang="en-US" b="1"/>
              <a:t>Option 3 (Max Award)</a:t>
            </a:r>
            <a:r>
              <a:rPr lang="en-US"/>
              <a:t>: The program has a fixed cap of $250 million.</a:t>
            </a:r>
            <a:endParaRPr lang="en-US">
              <a:cs typeface="Calibri"/>
            </a:endParaRPr>
          </a:p>
          <a:p>
            <a:r>
              <a:rPr lang="en-US"/>
              <a:t>In this case, the company would receive the </a:t>
            </a:r>
            <a:r>
              <a:rPr lang="en-US" b="1"/>
              <a:t>lesser</a:t>
            </a:r>
            <a:r>
              <a:rPr lang="en-US"/>
              <a:t> of the three amounts, so they would be eligible for up to </a:t>
            </a:r>
            <a:r>
              <a:rPr lang="en-US" b="1"/>
              <a:t>$82,500,000</a:t>
            </a:r>
            <a:r>
              <a:rPr lang="en-US"/>
              <a:t> in tax incentive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55247812-3409-784D-BAE7-ABE53735D59F}" type="slidenum">
              <a:rPr lang="en-US" smtClean="0"/>
              <a:t>17</a:t>
            </a:fld>
            <a:endParaRPr lang="en-US"/>
          </a:p>
        </p:txBody>
      </p:sp>
    </p:spTree>
    <p:extLst>
      <p:ext uri="{BB962C8B-B14F-4D97-AF65-F5344CB8AC3E}">
        <p14:creationId xmlns:p14="http://schemas.microsoft.com/office/powerpoint/2010/main" val="1486726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In years 1-5, companies must maintain at least 80% of the required job creation and other criteria to remain in compliance. Falling below this threshold will result in a reduction of the awarded tax credits. In years 6-10, companies are given a grace period to recover any shortfall; however, continued non-compliance after this period will lead to a recapture of tax credits.</a:t>
            </a:r>
            <a:endParaRPr lang="en-US">
              <a:cs typeface="Calibri"/>
            </a:endParaRPr>
          </a:p>
          <a:p>
            <a:r>
              <a:rPr lang="en-US"/>
              <a:t>In short, tax credits will be forfeited or recaptured based on the company’s ability to meet job creation and other requirements during both the eligibility and compliance periods. Any recapture will be proportional to the level of non-compliance, and companies will be provided time to recover before full recapture is enforced.</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8</a:t>
            </a:fld>
            <a:endParaRPr lang="en-US"/>
          </a:p>
        </p:txBody>
      </p:sp>
    </p:spTree>
    <p:extLst>
      <p:ext uri="{BB962C8B-B14F-4D97-AF65-F5344CB8AC3E}">
        <p14:creationId xmlns:p14="http://schemas.microsoft.com/office/powerpoint/2010/main" val="1683765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b="1"/>
              <a:t>Years 1-5 (Eligibility Period)</a:t>
            </a:r>
            <a:r>
              <a:rPr lang="en-US"/>
              <a:t>: During this period, if the company falls below </a:t>
            </a:r>
            <a:r>
              <a:rPr lang="en-US" b="1"/>
              <a:t>80% of the required jobs</a:t>
            </a:r>
            <a:r>
              <a:rPr lang="en-US"/>
              <a:t>, they would face a </a:t>
            </a:r>
            <a:r>
              <a:rPr lang="en-US" b="1"/>
              <a:t>forfeiture in their award and a possible recapture</a:t>
            </a:r>
            <a:r>
              <a:rPr lang="en-US"/>
              <a:t>. This means if they were expected to create, say, 200 jobs, they need to maintain at least 160 jobs (80% of the required amount). If they dip below this threshold, the tax credit award is reduced accordingly.</a:t>
            </a:r>
          </a:p>
        </p:txBody>
      </p:sp>
      <p:sp>
        <p:nvSpPr>
          <p:cNvPr id="4" name="Slide Number Placeholder 3"/>
          <p:cNvSpPr>
            <a:spLocks noGrp="1"/>
          </p:cNvSpPr>
          <p:nvPr>
            <p:ph type="sldNum" sz="quarter" idx="5"/>
          </p:nvPr>
        </p:nvSpPr>
        <p:spPr/>
        <p:txBody>
          <a:bodyPr/>
          <a:lstStyle/>
          <a:p>
            <a:fld id="{80E8391B-3023-4E9E-9F52-56487EDDE7E3}" type="slidenum">
              <a:rPr lang="en-US" smtClean="0"/>
              <a:t>19</a:t>
            </a:fld>
            <a:endParaRPr lang="en-US"/>
          </a:p>
        </p:txBody>
      </p:sp>
    </p:spTree>
    <p:extLst>
      <p:ext uri="{BB962C8B-B14F-4D97-AF65-F5344CB8AC3E}">
        <p14:creationId xmlns:p14="http://schemas.microsoft.com/office/powerpoint/2010/main" val="1023142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b="1"/>
              <a:t>Years 6-10 (Compliance Period)</a:t>
            </a:r>
            <a:r>
              <a:rPr lang="en-US"/>
              <a:t>: In the compliance period, there's a </a:t>
            </a:r>
            <a:r>
              <a:rPr lang="en-US" b="1"/>
              <a:t>1-year grace period</a:t>
            </a:r>
            <a:r>
              <a:rPr lang="en-US"/>
              <a:t>. This means that if the company falls below the required number of jobs, they have a full year to recover the required jobs without facing consequences. If they don't recover within the grace year, then recapture is enforced.</a:t>
            </a:r>
          </a:p>
        </p:txBody>
      </p:sp>
      <p:sp>
        <p:nvSpPr>
          <p:cNvPr id="4" name="Slide Number Placeholder 3"/>
          <p:cNvSpPr>
            <a:spLocks noGrp="1"/>
          </p:cNvSpPr>
          <p:nvPr>
            <p:ph type="sldNum" sz="quarter" idx="5"/>
          </p:nvPr>
        </p:nvSpPr>
        <p:spPr/>
        <p:txBody>
          <a:bodyPr/>
          <a:lstStyle/>
          <a:p>
            <a:fld id="{80E8391B-3023-4E9E-9F52-56487EDDE7E3}" type="slidenum">
              <a:rPr lang="en-US" smtClean="0"/>
              <a:t>20</a:t>
            </a:fld>
            <a:endParaRPr lang="en-US"/>
          </a:p>
        </p:txBody>
      </p:sp>
    </p:spTree>
    <p:extLst>
      <p:ext uri="{BB962C8B-B14F-4D97-AF65-F5344CB8AC3E}">
        <p14:creationId xmlns:p14="http://schemas.microsoft.com/office/powerpoint/2010/main" val="1361232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E8391B-3023-4E9E-9F52-56487EDDE7E3}" type="slidenum">
              <a:rPr lang="en-US" smtClean="0"/>
              <a:t>21</a:t>
            </a:fld>
            <a:endParaRPr lang="en-US"/>
          </a:p>
        </p:txBody>
      </p:sp>
    </p:spTree>
    <p:extLst>
      <p:ext uri="{BB962C8B-B14F-4D97-AF65-F5344CB8AC3E}">
        <p14:creationId xmlns:p14="http://schemas.microsoft.com/office/powerpoint/2010/main" val="2952632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E8391B-3023-4E9E-9F52-56487EDDE7E3}" type="slidenum">
              <a:rPr lang="en-US" smtClean="0"/>
              <a:t>3</a:t>
            </a:fld>
            <a:endParaRPr lang="en-US"/>
          </a:p>
        </p:txBody>
      </p:sp>
    </p:spTree>
    <p:extLst>
      <p:ext uri="{BB962C8B-B14F-4D97-AF65-F5344CB8AC3E}">
        <p14:creationId xmlns:p14="http://schemas.microsoft.com/office/powerpoint/2010/main" val="2288018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Capital investment refers to expenses incurred by a business or its affiliate, or on its behalf by a landlord, between the submission of the application and the project's completion. These expenses include costs for site preparation, construction, repairs, renovations, improvements, equipment installation, and furnishings for real property or buildings. It also covers the acquisition and installation of machinery, computer systems, hardware, software, and equipment eligible for bonus depreciation under federal tax code sections 168 and 179, all aimed at supporting business operations on the property.</a:t>
            </a:r>
          </a:p>
        </p:txBody>
      </p:sp>
      <p:sp>
        <p:nvSpPr>
          <p:cNvPr id="4" name="Slide Number Placeholder 3"/>
          <p:cNvSpPr>
            <a:spLocks noGrp="1"/>
          </p:cNvSpPr>
          <p:nvPr>
            <p:ph type="sldNum" sz="quarter" idx="5"/>
          </p:nvPr>
        </p:nvSpPr>
        <p:spPr/>
        <p:txBody>
          <a:bodyPr/>
          <a:lstStyle/>
          <a:p>
            <a:fld id="{80E8391B-3023-4E9E-9F52-56487EDDE7E3}" type="slidenum">
              <a:rPr lang="en-US" smtClean="0"/>
              <a:t>22</a:t>
            </a:fld>
            <a:endParaRPr lang="en-US"/>
          </a:p>
        </p:txBody>
      </p:sp>
    </p:spTree>
    <p:extLst>
      <p:ext uri="{BB962C8B-B14F-4D97-AF65-F5344CB8AC3E}">
        <p14:creationId xmlns:p14="http://schemas.microsoft.com/office/powerpoint/2010/main" val="2811387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cs typeface="Calibri"/>
              </a:rPr>
              <a:t>For the Next NJ Program-AI, </a:t>
            </a:r>
            <a:r>
              <a:rPr lang="en-US"/>
              <a:t>Capital investment includes expenses for site preparation, construction, repairs, renovations, and improvements to real property or buildings, such as security systems, utilities (water, electric, sewer), transportation infrastructure, and environmental components like solar panels and energy storage to meet sustainability standards. It also covers the installation of telecommunications systems, energy power generation (including backup power and cooling technologies), and the procurement of computer systems and equipment necessary for business operations. Additionally, capital investment accounts for capital leases of furnishings and equipment based on their useful life or the commitment period, in accordance with generally accepted accounting principles (GAAP).</a:t>
            </a: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23</a:t>
            </a:fld>
            <a:endParaRPr lang="en-US"/>
          </a:p>
        </p:txBody>
      </p:sp>
    </p:spTree>
    <p:extLst>
      <p:ext uri="{BB962C8B-B14F-4D97-AF65-F5344CB8AC3E}">
        <p14:creationId xmlns:p14="http://schemas.microsoft.com/office/powerpoint/2010/main" val="1389011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b="1"/>
              <a:t>Regarding software:</a:t>
            </a:r>
            <a:r>
              <a:rPr lang="en-US"/>
              <a:t>  we propose capping the soft cost portion of the capital investment, as defined by generally accepted accounting principles (GAAP), at 20%. This would limit the amount of non-tangible costs—such as legal fees, administrative expenses, and other indirect costs—that can be counted toward the total capital investment. However, there will be a carve-out for licensed software, recognizing its critical role in the operation of modern businesses, especially in sectors like AI technology. Unlike hardware and equipment, which are physical assets, licensed software is intangible but essential for business functionality. This distinction ensures that businesses investing in essential technology tools can still receive the full benefit of their investment in software, data, etc., while maintaining a reasonable limit on non-physical, indirect costs.</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24</a:t>
            </a:fld>
            <a:endParaRPr lang="en-US"/>
          </a:p>
        </p:txBody>
      </p:sp>
    </p:spTree>
    <p:extLst>
      <p:ext uri="{BB962C8B-B14F-4D97-AF65-F5344CB8AC3E}">
        <p14:creationId xmlns:p14="http://schemas.microsoft.com/office/powerpoint/2010/main" val="35030822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A business participating in the program will be allowed to lease up to </a:t>
            </a:r>
            <a:r>
              <a:rPr lang="en-US" b="1"/>
              <a:t>5% of its Qualified Business Facility (QBF)</a:t>
            </a:r>
            <a:r>
              <a:rPr lang="en-US"/>
              <a:t> to another business. However, this leasing arrangement is capped at 5% of the total space to ensure that the primary purpose of the facility remains focused on the business's operations and the intended use of the QBF.</a:t>
            </a:r>
          </a:p>
          <a:p>
            <a:endParaRPr lang="en-US">
              <a:cs typeface="Calibri"/>
            </a:endParaRPr>
          </a:p>
          <a:p>
            <a:r>
              <a:rPr lang="en-US"/>
              <a:t>Additionally, businesses will have the unique opportunity to lease space to a </a:t>
            </a:r>
            <a:r>
              <a:rPr lang="en-US" b="1"/>
              <a:t>child-care facility</a:t>
            </a:r>
            <a:r>
              <a:rPr lang="en-US"/>
              <a:t> without any restrictions on the amount of space leased. This carve-out acknowledges the importance of supporting employee work-life balance and access to essential services, like child care. By providing unlimited leasing space to child-care facilities, the program aims to encourage businesses to offer family-friendly environments, which can improve employee retention, attract talent, and contribute to a positive workplace culture. This policy helps create a more supportive ecosystem, balancing business needs with social responsibility.</a:t>
            </a:r>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25</a:t>
            </a:fld>
            <a:endParaRPr lang="en-US"/>
          </a:p>
        </p:txBody>
      </p:sp>
    </p:spTree>
    <p:extLst>
      <p:ext uri="{BB962C8B-B14F-4D97-AF65-F5344CB8AC3E}">
        <p14:creationId xmlns:p14="http://schemas.microsoft.com/office/powerpoint/2010/main" val="20375360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 proposed appendix to the NJEDA Green Building Manual would outline </a:t>
            </a:r>
            <a:r>
              <a:rPr lang="en-US" b="1"/>
              <a:t>acceptable green construction standards</a:t>
            </a:r>
            <a:r>
              <a:rPr lang="en-US"/>
              <a:t> widely recognized in the industry. To comply with minimum environmental and sustainability standards, a qualified business would, within </a:t>
            </a:r>
            <a:r>
              <a:rPr lang="en-US" b="1"/>
              <a:t>two years</a:t>
            </a:r>
            <a:r>
              <a:rPr lang="en-US"/>
              <a:t> of service, be required to certify compliance under one or more of the following green building standards:</a:t>
            </a:r>
          </a:p>
          <a:p>
            <a:endParaRPr lang="en-US">
              <a:cs typeface="Calibri"/>
            </a:endParaRPr>
          </a:p>
          <a:p>
            <a:r>
              <a:rPr lang="en-US"/>
              <a:t>The highlighted programs are currently featured in the Green Building manual. Based on the research gathered, I recommend that we continue to focus on these programs and exclude others. However, we may consider including </a:t>
            </a:r>
            <a:r>
              <a:rPr lang="en-US" b="1"/>
              <a:t>Envision</a:t>
            </a:r>
            <a:r>
              <a:rPr lang="en-US"/>
              <a:t> for campus-style projects that involve infrastructure and multiple buildings.</a:t>
            </a:r>
            <a:endParaRPr lang="en-US">
              <a:cs typeface="Calibri"/>
            </a:endParaRPr>
          </a:p>
          <a:p>
            <a:endParaRPr lang="en-US">
              <a:cs typeface="Calibri"/>
            </a:endParaRPr>
          </a:p>
          <a:p>
            <a:r>
              <a:rPr lang="en-US">
                <a:cs typeface="Calibri"/>
              </a:rPr>
              <a:t>Should we  split this slide???</a:t>
            </a:r>
          </a:p>
        </p:txBody>
      </p:sp>
      <p:sp>
        <p:nvSpPr>
          <p:cNvPr id="4" name="Slide Number Placeholder 3"/>
          <p:cNvSpPr>
            <a:spLocks noGrp="1"/>
          </p:cNvSpPr>
          <p:nvPr>
            <p:ph type="sldNum" sz="quarter" idx="5"/>
          </p:nvPr>
        </p:nvSpPr>
        <p:spPr/>
        <p:txBody>
          <a:bodyPr/>
          <a:lstStyle/>
          <a:p>
            <a:fld id="{80E8391B-3023-4E9E-9F52-56487EDDE7E3}" type="slidenum">
              <a:rPr lang="en-US" smtClean="0"/>
              <a:t>26</a:t>
            </a:fld>
            <a:endParaRPr lang="en-US"/>
          </a:p>
        </p:txBody>
      </p:sp>
    </p:spTree>
    <p:extLst>
      <p:ext uri="{BB962C8B-B14F-4D97-AF65-F5344CB8AC3E}">
        <p14:creationId xmlns:p14="http://schemas.microsoft.com/office/powerpoint/2010/main" val="16691953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 Next NJ Program for AI fees is structured to be scalable, with the fees tied directly to the size of the project, which is determined by the number of employees and the jobs created. </a:t>
            </a:r>
          </a:p>
        </p:txBody>
      </p:sp>
      <p:sp>
        <p:nvSpPr>
          <p:cNvPr id="4" name="Slide Number Placeholder 3"/>
          <p:cNvSpPr>
            <a:spLocks noGrp="1"/>
          </p:cNvSpPr>
          <p:nvPr>
            <p:ph type="sldNum" sz="quarter" idx="5"/>
          </p:nvPr>
        </p:nvSpPr>
        <p:spPr/>
        <p:txBody>
          <a:bodyPr/>
          <a:lstStyle/>
          <a:p>
            <a:fld id="{80E8391B-3023-4E9E-9F52-56487EDDE7E3}" type="slidenum">
              <a:rPr lang="en-US" smtClean="0"/>
              <a:t>27</a:t>
            </a:fld>
            <a:endParaRPr lang="en-US"/>
          </a:p>
        </p:txBody>
      </p:sp>
    </p:spTree>
    <p:extLst>
      <p:ext uri="{BB962C8B-B14F-4D97-AF65-F5344CB8AC3E}">
        <p14:creationId xmlns:p14="http://schemas.microsoft.com/office/powerpoint/2010/main" val="42421715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a:p>
            <a:r>
              <a:rPr lang="en-US"/>
              <a:t>The </a:t>
            </a:r>
            <a:r>
              <a:rPr lang="en-US" b="1"/>
              <a:t>Next NJ Program for AI</a:t>
            </a:r>
            <a:r>
              <a:rPr lang="en-US"/>
              <a:t> is an exciting tax credit initiative designed to drive major investment, create high-paying jobs, and position New Jersey as a leader in the booming AI industry! With a minimum investment of $100 million and the creation of at least 100 full-time jobs, this program offers powerful incentives for companies to bring their capital and innovation to New Jersey. It supports businesses investing in large-scale AI data centers and cutting-edge projects like visual perception, speech recognition, decision-making, language translation, and generative AI. Eligible companies can earn tax credits based on their investment and job creation, fueling growth and innovation across the state! </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341" rtl="0" eaLnBrk="1" fontAlgn="auto" latinLnBrk="0" hangingPunct="1">
              <a:lnSpc>
                <a:spcPct val="100000"/>
              </a:lnSpc>
              <a:spcBef>
                <a:spcPts val="0"/>
              </a:spcBef>
              <a:spcAft>
                <a:spcPts val="0"/>
              </a:spcAft>
              <a:buClrTx/>
              <a:buSzTx/>
              <a:buFontTx/>
              <a:buNone/>
              <a:tabLst/>
              <a:defRPr/>
            </a:pPr>
            <a:fld id="{80E8391B-3023-4E9E-9F52-56487EDDE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41"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331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For more information, please visit our website at </a:t>
            </a:r>
            <a:r>
              <a:rPr lang="en-US">
                <a:hlinkClick r:id="rId3"/>
              </a:rPr>
              <a:t>www.njeda.gov/nextnjai</a:t>
            </a:r>
            <a:r>
              <a:rPr lang="en-US"/>
              <a:t>, and be sure to follow us on our social media channels.</a:t>
            </a: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29</a:t>
            </a:fld>
            <a:endParaRPr lang="en-US"/>
          </a:p>
        </p:txBody>
      </p:sp>
    </p:spTree>
    <p:extLst>
      <p:ext uri="{BB962C8B-B14F-4D97-AF65-F5344CB8AC3E}">
        <p14:creationId xmlns:p14="http://schemas.microsoft.com/office/powerpoint/2010/main" val="2234168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ank you for attending the Next NJ Program for AI presentation. I would now like to hand it over to Virginia, who will facilitate the next portion of the session.</a:t>
            </a:r>
          </a:p>
        </p:txBody>
      </p:sp>
      <p:sp>
        <p:nvSpPr>
          <p:cNvPr id="4" name="Slide Number Placeholder 3"/>
          <p:cNvSpPr>
            <a:spLocks noGrp="1"/>
          </p:cNvSpPr>
          <p:nvPr>
            <p:ph type="sldNum" sz="quarter" idx="5"/>
          </p:nvPr>
        </p:nvSpPr>
        <p:spPr/>
        <p:txBody>
          <a:bodyPr/>
          <a:lstStyle/>
          <a:p>
            <a:pPr marL="0" marR="0" lvl="0" indent="0" algn="r" defTabSz="912878" rtl="0" eaLnBrk="1" fontAlgn="auto" latinLnBrk="0" hangingPunct="1">
              <a:lnSpc>
                <a:spcPct val="100000"/>
              </a:lnSpc>
              <a:spcBef>
                <a:spcPts val="0"/>
              </a:spcBef>
              <a:spcAft>
                <a:spcPts val="0"/>
              </a:spcAft>
              <a:buClrTx/>
              <a:buSzTx/>
              <a:buFontTx/>
              <a:buNone/>
              <a:tabLst/>
              <a:defRPr/>
            </a:pPr>
            <a:fld id="{80E8391B-3023-4E9E-9F52-56487EDDE7E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87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0939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2878" rtl="0" eaLnBrk="1" fontAlgn="auto" latinLnBrk="0" hangingPunct="1">
              <a:lnSpc>
                <a:spcPct val="100000"/>
              </a:lnSpc>
              <a:spcBef>
                <a:spcPts val="0"/>
              </a:spcBef>
              <a:spcAft>
                <a:spcPts val="0"/>
              </a:spcAft>
              <a:buClrTx/>
              <a:buSzTx/>
              <a:buFontTx/>
              <a:buNone/>
              <a:tabLst/>
              <a:defRPr/>
            </a:pPr>
            <a:fld id="{80E8391B-3023-4E9E-9F52-56487EDDE7E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87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177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On January 7, 2021, Governor Phil Murphy signed the New Jersey Economic Recovery Act of 2020, a key step toward revitalizing the state's economy. Building on this momentum, the </a:t>
            </a:r>
            <a:r>
              <a:rPr lang="en-US" b="1"/>
              <a:t>Next NJ Program for AI</a:t>
            </a:r>
            <a:r>
              <a:rPr lang="en-US"/>
              <a:t> was signed into law on July 25, 2021, with the goal of driving job creation, capital investment, and innovation in New Jersey’s thriving AI sector. The program is designed to position the state as a dynamic leader in the AI industry, fueling long-term growth and economic prosperity.</a:t>
            </a:r>
          </a:p>
        </p:txBody>
      </p:sp>
      <p:sp>
        <p:nvSpPr>
          <p:cNvPr id="4" name="Slide Number Placeholder 3"/>
          <p:cNvSpPr>
            <a:spLocks noGrp="1"/>
          </p:cNvSpPr>
          <p:nvPr>
            <p:ph type="sldNum" sz="quarter" idx="5"/>
          </p:nvPr>
        </p:nvSpPr>
        <p:spPr/>
        <p:txBody>
          <a:bodyPr/>
          <a:lstStyle/>
          <a:p>
            <a:fld id="{80E8391B-3023-4E9E-9F52-56487EDDE7E3}" type="slidenum">
              <a:rPr lang="en-US" smtClean="0"/>
              <a:t>6</a:t>
            </a:fld>
            <a:endParaRPr lang="en-US"/>
          </a:p>
        </p:txBody>
      </p:sp>
    </p:spTree>
    <p:extLst>
      <p:ext uri="{BB962C8B-B14F-4D97-AF65-F5344CB8AC3E}">
        <p14:creationId xmlns:p14="http://schemas.microsoft.com/office/powerpoint/2010/main" val="1894797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 Next New Jersey Program is a tax credit initiative designed to attract substantial investment, generate high-paying jobs, and establish New Jersey as a leader in the AI industry. </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7</a:t>
            </a:fld>
            <a:endParaRPr lang="en-US"/>
          </a:p>
        </p:txBody>
      </p:sp>
    </p:spTree>
    <p:extLst>
      <p:ext uri="{BB962C8B-B14F-4D97-AF65-F5344CB8AC3E}">
        <p14:creationId xmlns:p14="http://schemas.microsoft.com/office/powerpoint/2010/main" val="1668124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 Next NJ Program for AI utilizes  tax incentives to businesses supporting the AI industry and expanding operations in New Jersey. It provides tax credits to companies investing in large-scale AI data centers and AI development projects, including areas like visual perception, speech recognition, decision-making, language translation, and generative AI. The program promotes collaboration between established businesses and innovative startups to drive shared goals and growth. </a:t>
            </a:r>
          </a:p>
        </p:txBody>
      </p:sp>
      <p:sp>
        <p:nvSpPr>
          <p:cNvPr id="4" name="Slide Number Placeholder 3"/>
          <p:cNvSpPr>
            <a:spLocks noGrp="1"/>
          </p:cNvSpPr>
          <p:nvPr>
            <p:ph type="sldNum" sz="quarter" idx="5"/>
          </p:nvPr>
        </p:nvSpPr>
        <p:spPr/>
        <p:txBody>
          <a:bodyPr/>
          <a:lstStyle/>
          <a:p>
            <a:fld id="{80E8391B-3023-4E9E-9F52-56487EDDE7E3}" type="slidenum">
              <a:rPr lang="en-US" smtClean="0"/>
              <a:t>8</a:t>
            </a:fld>
            <a:endParaRPr lang="en-US"/>
          </a:p>
        </p:txBody>
      </p:sp>
    </p:spTree>
    <p:extLst>
      <p:ext uri="{BB962C8B-B14F-4D97-AF65-F5344CB8AC3E}">
        <p14:creationId xmlns:p14="http://schemas.microsoft.com/office/powerpoint/2010/main" val="1356097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is program offers transferable tax credits to incentivize companies involved in AI activities right here in New Jersey! With applications accepted on a rolling basis through March 1, 2029, it's designed to attract long-term investment and welcome companies eager to join New Jersey's booming AI tech sector. By supporting smart growth investments, this initiative is paving the way for a thriving AI ecosystem in the Garden State, positioning New Jersey as a leader in the industry!</a:t>
            </a:r>
          </a:p>
          <a:p>
            <a:endParaRPr lang="en-US"/>
          </a:p>
          <a:p>
            <a:pPr marL="171450" indent="-171450">
              <a:buFont typeface="Arial"/>
              <a:buChar char="•"/>
            </a:pP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9</a:t>
            </a:fld>
            <a:endParaRPr lang="en-US"/>
          </a:p>
        </p:txBody>
      </p:sp>
    </p:spTree>
    <p:extLst>
      <p:ext uri="{BB962C8B-B14F-4D97-AF65-F5344CB8AC3E}">
        <p14:creationId xmlns:p14="http://schemas.microsoft.com/office/powerpoint/2010/main" val="286014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913765" lvl="2">
              <a:spcBef>
                <a:spcPts val="1200"/>
              </a:spcBef>
            </a:pPr>
            <a:r>
              <a:rPr lang="en-US"/>
              <a:t>This exciting initiative offers long-term benefits, with tax credits issued over five years, providing ongoing benefits for both businesses and the state! Awardees must commit to creating and maintaining jobs in New Jersey for 10-years, with transferable tax credits and a 10-year carryforward option. Designed to fuel collaboration, this program supports New Jersey’s research universities and technology start-ups, driving growth and strengthening the state's AI ecosystem.</a:t>
            </a:r>
          </a:p>
        </p:txBody>
      </p:sp>
      <p:sp>
        <p:nvSpPr>
          <p:cNvPr id="4" name="Slide Number Placeholder 3"/>
          <p:cNvSpPr>
            <a:spLocks noGrp="1"/>
          </p:cNvSpPr>
          <p:nvPr>
            <p:ph type="sldNum" sz="quarter" idx="5"/>
          </p:nvPr>
        </p:nvSpPr>
        <p:spPr/>
        <p:txBody>
          <a:bodyPr/>
          <a:lstStyle/>
          <a:p>
            <a:pPr marL="0" marR="0" lvl="0" indent="0" algn="r" defTabSz="914341" rtl="0" eaLnBrk="1" fontAlgn="auto" latinLnBrk="0" hangingPunct="1">
              <a:lnSpc>
                <a:spcPct val="100000"/>
              </a:lnSpc>
              <a:spcBef>
                <a:spcPts val="0"/>
              </a:spcBef>
              <a:spcAft>
                <a:spcPts val="0"/>
              </a:spcAft>
              <a:buClrTx/>
              <a:buSzTx/>
              <a:buFontTx/>
              <a:buNone/>
              <a:tabLst/>
              <a:defRPr/>
            </a:pPr>
            <a:fld id="{80E8391B-3023-4E9E-9F52-56487EDDE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41"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067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re are three key eligibility requirements to unlock the benefits of this program— First, you’ll need to create at least 100 jobs and make a minimum capital investment of $100 million. Plus, more than 50% of your workforce or company must be engaged in AI-related activities. And don’t forget, there’s an exciting collaboration component that we'll dive into in the next slides!</a:t>
            </a:r>
            <a:endParaRPr lang="en-US">
              <a:cs typeface="Calibri"/>
            </a:endParaRPr>
          </a:p>
        </p:txBody>
      </p:sp>
      <p:sp>
        <p:nvSpPr>
          <p:cNvPr id="4" name="Slide Number Placeholder 3"/>
          <p:cNvSpPr>
            <a:spLocks noGrp="1"/>
          </p:cNvSpPr>
          <p:nvPr>
            <p:ph type="sldNum" sz="quarter" idx="5"/>
          </p:nvPr>
        </p:nvSpPr>
        <p:spPr/>
        <p:txBody>
          <a:bodyPr/>
          <a:lstStyle/>
          <a:p>
            <a:fld id="{80E8391B-3023-4E9E-9F52-56487EDDE7E3}" type="slidenum">
              <a:rPr lang="en-US" smtClean="0"/>
              <a:t>11</a:t>
            </a:fld>
            <a:endParaRPr lang="en-US"/>
          </a:p>
        </p:txBody>
      </p:sp>
    </p:spTree>
    <p:extLst>
      <p:ext uri="{BB962C8B-B14F-4D97-AF65-F5344CB8AC3E}">
        <p14:creationId xmlns:p14="http://schemas.microsoft.com/office/powerpoint/2010/main" val="3662525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38"/>
            <a:ext cx="7610856" cy="134556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420790857"/>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44955"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9"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247319380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664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1" y="4804138"/>
            <a:ext cx="1009537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812568272"/>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3"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Tree>
    <p:extLst>
      <p:ext uri="{BB962C8B-B14F-4D97-AF65-F5344CB8AC3E}">
        <p14:creationId xmlns:p14="http://schemas.microsoft.com/office/powerpoint/2010/main" val="882818898"/>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5"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447815923"/>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2825723257"/>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userDrawn="1"/>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userDrawn="1"/>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551490965"/>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Title 1">
            <a:extLst>
              <a:ext uri="{FF2B5EF4-FFF2-40B4-BE49-F238E27FC236}">
                <a16:creationId xmlns:a16="http://schemas.microsoft.com/office/drawing/2014/main" id="{25422207-1922-4D42-8D39-A4E914A79D12}"/>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1" name="Text Placeholder 29">
            <a:extLst>
              <a:ext uri="{FF2B5EF4-FFF2-40B4-BE49-F238E27FC236}">
                <a16:creationId xmlns:a16="http://schemas.microsoft.com/office/drawing/2014/main" id="{6F4EB799-C0E5-4F4B-BDD9-05D3629D8561}"/>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79404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8E4B6B5B-86BA-46F6-8F4B-81D2E4E6EDE3}"/>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4F4B5514-05F5-4423-BF82-EDE7A4D7ADB4}"/>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29" name="Text Placeholder 29">
            <a:extLst>
              <a:ext uri="{FF2B5EF4-FFF2-40B4-BE49-F238E27FC236}">
                <a16:creationId xmlns:a16="http://schemas.microsoft.com/office/drawing/2014/main" id="{443124A8-B4E5-4E0F-A644-9773D3F2677B}"/>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92531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D0FDB38-E1A5-48AC-8D75-FF5056E9245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3" name="Title 1">
            <a:extLst>
              <a:ext uri="{FF2B5EF4-FFF2-40B4-BE49-F238E27FC236}">
                <a16:creationId xmlns:a16="http://schemas.microsoft.com/office/drawing/2014/main" id="{3027D4BF-EC30-4344-9632-AEAD499D9171}"/>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5" name="Text Placeholder 29">
            <a:extLst>
              <a:ext uri="{FF2B5EF4-FFF2-40B4-BE49-F238E27FC236}">
                <a16:creationId xmlns:a16="http://schemas.microsoft.com/office/drawing/2014/main" id="{95276F54-6C79-428E-9601-CF06A68D7A77}"/>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889509"/>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03CB7914-C890-41FE-9D3B-B00B6C26D32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Title 1">
            <a:extLst>
              <a:ext uri="{FF2B5EF4-FFF2-40B4-BE49-F238E27FC236}">
                <a16:creationId xmlns:a16="http://schemas.microsoft.com/office/drawing/2014/main" id="{920DBC6D-F3E3-4B92-B3CA-7FDD369499C0}"/>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2" name="Text Placeholder 29">
            <a:extLst>
              <a:ext uri="{FF2B5EF4-FFF2-40B4-BE49-F238E27FC236}">
                <a16:creationId xmlns:a16="http://schemas.microsoft.com/office/drawing/2014/main" id="{FBAEE53C-493B-4000-8A75-BE580BCCA4FC}"/>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357625"/>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769787099"/>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54E0E1B-F167-45D3-9A6B-6BF9A6B5C99A}"/>
              </a:ext>
            </a:extLst>
          </p:cNvPr>
          <p:cNvSpPr>
            <a:spLocks noGrp="1"/>
          </p:cNvSpPr>
          <p:nvPr>
            <p:ph type="pic" sz="quarter" idx="40"/>
          </p:nvPr>
        </p:nvSpPr>
        <p:spPr>
          <a:xfrm>
            <a:off x="2035176" y="-15873"/>
            <a:ext cx="10156825" cy="6900864"/>
          </a:xfrm>
        </p:spPr>
        <p:txBody>
          <a:bodyPr/>
          <a:lstStyle/>
          <a:p>
            <a:endParaRPr lang="en-US"/>
          </a:p>
        </p:txBody>
      </p:sp>
      <p:sp>
        <p:nvSpPr>
          <p:cNvPr id="22" name="Rectangle 21">
            <a:extLst>
              <a:ext uri="{FF2B5EF4-FFF2-40B4-BE49-F238E27FC236}">
                <a16:creationId xmlns:a16="http://schemas.microsoft.com/office/drawing/2014/main" id="{5DFD53CF-E459-440A-87AD-B995065D52EF}"/>
              </a:ext>
            </a:extLst>
          </p:cNvPr>
          <p:cNvSpPr/>
          <p:nvPr userDrawn="1"/>
        </p:nvSpPr>
        <p:spPr>
          <a:xfrm>
            <a:off x="2933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3" name="Rectangle: Single Corner Snipped 22">
            <a:extLst>
              <a:ext uri="{FF2B5EF4-FFF2-40B4-BE49-F238E27FC236}">
                <a16:creationId xmlns:a16="http://schemas.microsoft.com/office/drawing/2014/main" id="{D1C5C806-181A-453D-B644-6ADAEED7F171}"/>
              </a:ext>
            </a:extLst>
          </p:cNvPr>
          <p:cNvSpPr/>
          <p:nvPr userDrawn="1"/>
        </p:nvSpPr>
        <p:spPr>
          <a:xfrm>
            <a:off x="1801862" y="1660622"/>
            <a:ext cx="10419476"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5" name="Straight Connector 34">
            <a:extLst>
              <a:ext uri="{FF2B5EF4-FFF2-40B4-BE49-F238E27FC236}">
                <a16:creationId xmlns:a16="http://schemas.microsoft.com/office/drawing/2014/main" id="{85F289F5-5E2B-4017-B6EE-AC81B6C2ED33}"/>
              </a:ext>
            </a:extLst>
          </p:cNvPr>
          <p:cNvCxnSpPr/>
          <p:nvPr/>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9" name="Title 2">
            <a:extLst>
              <a:ext uri="{FF2B5EF4-FFF2-40B4-BE49-F238E27FC236}">
                <a16:creationId xmlns:a16="http://schemas.microsoft.com/office/drawing/2014/main" id="{0B05BC5B-0BD7-47E2-ADE2-AF3B6247E120}"/>
              </a:ext>
            </a:extLst>
          </p:cNvPr>
          <p:cNvSpPr>
            <a:spLocks noGrp="1"/>
          </p:cNvSpPr>
          <p:nvPr userDrawn="1">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70" name="Text Placeholder 6">
            <a:extLst>
              <a:ext uri="{FF2B5EF4-FFF2-40B4-BE49-F238E27FC236}">
                <a16:creationId xmlns:a16="http://schemas.microsoft.com/office/drawing/2014/main" id="{EE6F083A-08DC-4EF9-A860-B42614FC6890}"/>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B555FDDF-669D-4525-81D5-380F44F72719}"/>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4" name="Straight Connector 73">
            <a:extLst>
              <a:ext uri="{FF2B5EF4-FFF2-40B4-BE49-F238E27FC236}">
                <a16:creationId xmlns:a16="http://schemas.microsoft.com/office/drawing/2014/main" id="{E554E57C-3FD8-43C0-A804-66C7AB67DB5B}"/>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Text Placeholder 6">
            <a:extLst>
              <a:ext uri="{FF2B5EF4-FFF2-40B4-BE49-F238E27FC236}">
                <a16:creationId xmlns:a16="http://schemas.microsoft.com/office/drawing/2014/main" id="{A74C89D4-94C0-46FA-9D3C-A2BC6DCCA2BC}"/>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6" name="Text Placeholder 4">
            <a:extLst>
              <a:ext uri="{FF2B5EF4-FFF2-40B4-BE49-F238E27FC236}">
                <a16:creationId xmlns:a16="http://schemas.microsoft.com/office/drawing/2014/main" id="{26E5DF5E-6606-49F9-96A8-042491382C78}"/>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7" name="Straight Connector 76">
            <a:extLst>
              <a:ext uri="{FF2B5EF4-FFF2-40B4-BE49-F238E27FC236}">
                <a16:creationId xmlns:a16="http://schemas.microsoft.com/office/drawing/2014/main" id="{08BBD0CD-51AB-4E5E-82B1-8E449FD2ED45}"/>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4DBAAF61-0D11-461D-9D92-878941017602}"/>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9" name="Text Placeholder 4">
            <a:extLst>
              <a:ext uri="{FF2B5EF4-FFF2-40B4-BE49-F238E27FC236}">
                <a16:creationId xmlns:a16="http://schemas.microsoft.com/office/drawing/2014/main" id="{AB48BA21-0DBD-4460-9A9E-B03544077646}"/>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0" name="Straight Connector 79">
            <a:extLst>
              <a:ext uri="{FF2B5EF4-FFF2-40B4-BE49-F238E27FC236}">
                <a16:creationId xmlns:a16="http://schemas.microsoft.com/office/drawing/2014/main" id="{8947D154-3162-4162-999D-AC4E66129118}"/>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1" name="Text Placeholder 6">
            <a:extLst>
              <a:ext uri="{FF2B5EF4-FFF2-40B4-BE49-F238E27FC236}">
                <a16:creationId xmlns:a16="http://schemas.microsoft.com/office/drawing/2014/main" id="{E1D86DC7-C12C-4199-99CD-0BE3B318014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2" name="Text Placeholder 4">
            <a:extLst>
              <a:ext uri="{FF2B5EF4-FFF2-40B4-BE49-F238E27FC236}">
                <a16:creationId xmlns:a16="http://schemas.microsoft.com/office/drawing/2014/main" id="{0F50986B-D56A-4E53-9021-1B493F106045}"/>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3" name="Straight Connector 82">
            <a:extLst>
              <a:ext uri="{FF2B5EF4-FFF2-40B4-BE49-F238E27FC236}">
                <a16:creationId xmlns:a16="http://schemas.microsoft.com/office/drawing/2014/main" id="{3EFF5CAE-C9A0-4728-B306-CF27E5BD03B2}"/>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Text Placeholder 6">
            <a:extLst>
              <a:ext uri="{FF2B5EF4-FFF2-40B4-BE49-F238E27FC236}">
                <a16:creationId xmlns:a16="http://schemas.microsoft.com/office/drawing/2014/main" id="{499A2AD8-5D49-4598-836A-B0EF5B4AD4B7}"/>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5" name="Text Placeholder 4">
            <a:extLst>
              <a:ext uri="{FF2B5EF4-FFF2-40B4-BE49-F238E27FC236}">
                <a16:creationId xmlns:a16="http://schemas.microsoft.com/office/drawing/2014/main" id="{43B64440-97B2-441D-964B-95E8BDD50ED6}"/>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27275360-7FAC-40C3-93F2-94DBB254DF29}"/>
              </a:ext>
            </a:extLst>
          </p:cNvPr>
          <p:cNvSpPr>
            <a:spLocks noGrp="1"/>
          </p:cNvSpPr>
          <p:nvPr>
            <p:ph sz="quarter" idx="35"/>
          </p:nvPr>
        </p:nvSpPr>
        <p:spPr>
          <a:xfrm>
            <a:off x="2584450" y="2006352"/>
            <a:ext cx="1371600" cy="1212851"/>
          </a:xfrm>
        </p:spPr>
        <p:txBody>
          <a:bodyPr/>
          <a:lstStyle/>
          <a:p>
            <a:pPr lvl="0"/>
            <a:endParaRPr lang="en-US"/>
          </a:p>
        </p:txBody>
      </p:sp>
      <p:sp>
        <p:nvSpPr>
          <p:cNvPr id="86" name="Content Placeholder 8">
            <a:extLst>
              <a:ext uri="{FF2B5EF4-FFF2-40B4-BE49-F238E27FC236}">
                <a16:creationId xmlns:a16="http://schemas.microsoft.com/office/drawing/2014/main" id="{5766E708-CC2D-45FA-BB2E-2829E6413C55}"/>
              </a:ext>
            </a:extLst>
          </p:cNvPr>
          <p:cNvSpPr>
            <a:spLocks noGrp="1"/>
          </p:cNvSpPr>
          <p:nvPr>
            <p:ph sz="quarter" idx="36"/>
          </p:nvPr>
        </p:nvSpPr>
        <p:spPr>
          <a:xfrm>
            <a:off x="4360609" y="2006352"/>
            <a:ext cx="1371600" cy="1212851"/>
          </a:xfrm>
        </p:spPr>
        <p:txBody>
          <a:bodyPr/>
          <a:lstStyle/>
          <a:p>
            <a:pPr lvl="0"/>
            <a:endParaRPr lang="en-US"/>
          </a:p>
        </p:txBody>
      </p:sp>
      <p:sp>
        <p:nvSpPr>
          <p:cNvPr id="87" name="Content Placeholder 8">
            <a:extLst>
              <a:ext uri="{FF2B5EF4-FFF2-40B4-BE49-F238E27FC236}">
                <a16:creationId xmlns:a16="http://schemas.microsoft.com/office/drawing/2014/main" id="{301FB4BD-A415-4070-9490-CFC76DD76596}"/>
              </a:ext>
            </a:extLst>
          </p:cNvPr>
          <p:cNvSpPr>
            <a:spLocks noGrp="1"/>
          </p:cNvSpPr>
          <p:nvPr>
            <p:ph sz="quarter" idx="37"/>
          </p:nvPr>
        </p:nvSpPr>
        <p:spPr>
          <a:xfrm>
            <a:off x="6136768" y="2006352"/>
            <a:ext cx="1371600" cy="1212851"/>
          </a:xfrm>
        </p:spPr>
        <p:txBody>
          <a:bodyPr/>
          <a:lstStyle/>
          <a:p>
            <a:pPr lvl="0"/>
            <a:endParaRPr lang="en-US"/>
          </a:p>
        </p:txBody>
      </p:sp>
      <p:sp>
        <p:nvSpPr>
          <p:cNvPr id="88" name="Content Placeholder 8">
            <a:extLst>
              <a:ext uri="{FF2B5EF4-FFF2-40B4-BE49-F238E27FC236}">
                <a16:creationId xmlns:a16="http://schemas.microsoft.com/office/drawing/2014/main" id="{87D239FA-01B8-4257-BA86-4505E3D0A151}"/>
              </a:ext>
            </a:extLst>
          </p:cNvPr>
          <p:cNvSpPr>
            <a:spLocks noGrp="1"/>
          </p:cNvSpPr>
          <p:nvPr>
            <p:ph sz="quarter" idx="38"/>
          </p:nvPr>
        </p:nvSpPr>
        <p:spPr>
          <a:xfrm>
            <a:off x="7912928" y="2006352"/>
            <a:ext cx="1371600" cy="1212851"/>
          </a:xfrm>
        </p:spPr>
        <p:txBody>
          <a:bodyPr/>
          <a:lstStyle/>
          <a:p>
            <a:pPr lvl="0"/>
            <a:endParaRPr lang="en-US"/>
          </a:p>
        </p:txBody>
      </p:sp>
      <p:sp>
        <p:nvSpPr>
          <p:cNvPr id="89" name="Content Placeholder 8">
            <a:extLst>
              <a:ext uri="{FF2B5EF4-FFF2-40B4-BE49-F238E27FC236}">
                <a16:creationId xmlns:a16="http://schemas.microsoft.com/office/drawing/2014/main" id="{FE993539-1E45-4A59-AF4C-2206022509DC}"/>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217915606"/>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99D9F074-5FA9-4A43-8DBD-0823DBCE3E7F}"/>
              </a:ext>
            </a:extLst>
          </p:cNvPr>
          <p:cNvSpPr/>
          <p:nvPr userDrawn="1"/>
        </p:nvSpPr>
        <p:spPr>
          <a:xfrm>
            <a:off x="4076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6" name="Picture Placeholder 10">
            <a:extLst>
              <a:ext uri="{FF2B5EF4-FFF2-40B4-BE49-F238E27FC236}">
                <a16:creationId xmlns:a16="http://schemas.microsoft.com/office/drawing/2014/main" id="{20BB51CE-E898-459C-9C17-B9F5B6AEB1A3}"/>
              </a:ext>
            </a:extLst>
          </p:cNvPr>
          <p:cNvSpPr>
            <a:spLocks noGrp="1"/>
          </p:cNvSpPr>
          <p:nvPr>
            <p:ph type="pic" sz="quarter" idx="40"/>
          </p:nvPr>
        </p:nvSpPr>
        <p:spPr>
          <a:xfrm>
            <a:off x="2023746" y="-27303"/>
            <a:ext cx="10156825" cy="6900864"/>
          </a:xfrm>
        </p:spPr>
        <p:txBody>
          <a:bodyPr/>
          <a:lstStyle/>
          <a:p>
            <a:endParaRPr lang="en-US"/>
          </a:p>
        </p:txBody>
      </p:sp>
      <p:sp>
        <p:nvSpPr>
          <p:cNvPr id="58" name="Rectangle: Single Corner Snipped 57">
            <a:extLst>
              <a:ext uri="{FF2B5EF4-FFF2-40B4-BE49-F238E27FC236}">
                <a16:creationId xmlns:a16="http://schemas.microsoft.com/office/drawing/2014/main" id="{05A7EEF3-25FC-412A-ABF7-BB66E8284324}"/>
              </a:ext>
            </a:extLst>
          </p:cNvPr>
          <p:cNvSpPr/>
          <p:nvPr userDrawn="1"/>
        </p:nvSpPr>
        <p:spPr>
          <a:xfrm>
            <a:off x="1801862" y="1660622"/>
            <a:ext cx="10390138"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59" name="Straight Connector 58">
            <a:extLst>
              <a:ext uri="{FF2B5EF4-FFF2-40B4-BE49-F238E27FC236}">
                <a16:creationId xmlns:a16="http://schemas.microsoft.com/office/drawing/2014/main" id="{DAEE0694-1A37-4220-B54E-B21E44F9AEB1}"/>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0" name="Title 2">
            <a:extLst>
              <a:ext uri="{FF2B5EF4-FFF2-40B4-BE49-F238E27FC236}">
                <a16:creationId xmlns:a16="http://schemas.microsoft.com/office/drawing/2014/main" id="{3CC9BD94-DE58-4D50-A03F-0852EC93AB41}"/>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61" name="Text Placeholder 6">
            <a:extLst>
              <a:ext uri="{FF2B5EF4-FFF2-40B4-BE49-F238E27FC236}">
                <a16:creationId xmlns:a16="http://schemas.microsoft.com/office/drawing/2014/main" id="{7F3F4B79-4C86-49C8-95A6-0A82D1EE7E34}"/>
              </a:ext>
            </a:extLst>
          </p:cNvPr>
          <p:cNvSpPr>
            <a:spLocks noGrp="1"/>
          </p:cNvSpPr>
          <p:nvPr>
            <p:ph type="body" sz="quarter" idx="41"/>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2" name="Text Placeholder 4">
            <a:extLst>
              <a:ext uri="{FF2B5EF4-FFF2-40B4-BE49-F238E27FC236}">
                <a16:creationId xmlns:a16="http://schemas.microsoft.com/office/drawing/2014/main" id="{13F78F7F-BEF9-4A8A-90FC-7390E82E6F9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3" name="Straight Connector 62">
            <a:extLst>
              <a:ext uri="{FF2B5EF4-FFF2-40B4-BE49-F238E27FC236}">
                <a16:creationId xmlns:a16="http://schemas.microsoft.com/office/drawing/2014/main" id="{80B5050C-BFD1-450D-9982-D840B274922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14B9B598-FC28-4AD2-AD8A-A5F589C400E3}"/>
              </a:ext>
            </a:extLst>
          </p:cNvPr>
          <p:cNvSpPr>
            <a:spLocks noGrp="1"/>
          </p:cNvSpPr>
          <p:nvPr>
            <p:ph type="body" sz="quarter" idx="42"/>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5" name="Text Placeholder 4">
            <a:extLst>
              <a:ext uri="{FF2B5EF4-FFF2-40B4-BE49-F238E27FC236}">
                <a16:creationId xmlns:a16="http://schemas.microsoft.com/office/drawing/2014/main" id="{9C6C6805-01AB-4B7C-94EF-C513241153DC}"/>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6" name="Straight Connector 65">
            <a:extLst>
              <a:ext uri="{FF2B5EF4-FFF2-40B4-BE49-F238E27FC236}">
                <a16:creationId xmlns:a16="http://schemas.microsoft.com/office/drawing/2014/main" id="{3AD1FC5B-6EC3-4DC8-A210-19B87D5E2ABF}"/>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7" name="Text Placeholder 6">
            <a:extLst>
              <a:ext uri="{FF2B5EF4-FFF2-40B4-BE49-F238E27FC236}">
                <a16:creationId xmlns:a16="http://schemas.microsoft.com/office/drawing/2014/main" id="{29D97CCE-A450-42F9-94CB-E230EC62DFA1}"/>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8" name="Text Placeholder 4">
            <a:extLst>
              <a:ext uri="{FF2B5EF4-FFF2-40B4-BE49-F238E27FC236}">
                <a16:creationId xmlns:a16="http://schemas.microsoft.com/office/drawing/2014/main" id="{37762FFC-3B46-405B-B305-B67270087A5E}"/>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9" name="Straight Connector 68">
            <a:extLst>
              <a:ext uri="{FF2B5EF4-FFF2-40B4-BE49-F238E27FC236}">
                <a16:creationId xmlns:a16="http://schemas.microsoft.com/office/drawing/2014/main" id="{B754F677-691A-496F-877D-EAE2321B4045}"/>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0" name="Text Placeholder 6">
            <a:extLst>
              <a:ext uri="{FF2B5EF4-FFF2-40B4-BE49-F238E27FC236}">
                <a16:creationId xmlns:a16="http://schemas.microsoft.com/office/drawing/2014/main" id="{4FBEA6F9-53EE-40E1-B614-068B7BB3C781}"/>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73B9D760-0B09-4516-8F46-F4B6CCFA3DA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2" name="Straight Connector 71">
            <a:extLst>
              <a:ext uri="{FF2B5EF4-FFF2-40B4-BE49-F238E27FC236}">
                <a16:creationId xmlns:a16="http://schemas.microsoft.com/office/drawing/2014/main" id="{24AD79E1-7128-49B2-AAD4-29C8054CD089}"/>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Text Placeholder 6">
            <a:extLst>
              <a:ext uri="{FF2B5EF4-FFF2-40B4-BE49-F238E27FC236}">
                <a16:creationId xmlns:a16="http://schemas.microsoft.com/office/drawing/2014/main" id="{7AB9854C-00D6-4432-A5A5-12A9C6AEB2AC}"/>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4" name="Text Placeholder 4">
            <a:extLst>
              <a:ext uri="{FF2B5EF4-FFF2-40B4-BE49-F238E27FC236}">
                <a16:creationId xmlns:a16="http://schemas.microsoft.com/office/drawing/2014/main" id="{375FE3A7-5585-4FAA-851C-0581A487924B}"/>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75" name="Content Placeholder 8">
            <a:extLst>
              <a:ext uri="{FF2B5EF4-FFF2-40B4-BE49-F238E27FC236}">
                <a16:creationId xmlns:a16="http://schemas.microsoft.com/office/drawing/2014/main" id="{BDCE1335-C72D-4455-AF07-E4B88A9FC3F4}"/>
              </a:ext>
            </a:extLst>
          </p:cNvPr>
          <p:cNvSpPr>
            <a:spLocks noGrp="1"/>
          </p:cNvSpPr>
          <p:nvPr>
            <p:ph sz="quarter" idx="35"/>
          </p:nvPr>
        </p:nvSpPr>
        <p:spPr>
          <a:xfrm>
            <a:off x="2584450" y="2006352"/>
            <a:ext cx="1371600" cy="1212851"/>
          </a:xfrm>
        </p:spPr>
        <p:txBody>
          <a:bodyPr/>
          <a:lstStyle/>
          <a:p>
            <a:pPr lvl="0"/>
            <a:endParaRPr lang="en-US"/>
          </a:p>
        </p:txBody>
      </p:sp>
      <p:sp>
        <p:nvSpPr>
          <p:cNvPr id="76" name="Content Placeholder 8">
            <a:extLst>
              <a:ext uri="{FF2B5EF4-FFF2-40B4-BE49-F238E27FC236}">
                <a16:creationId xmlns:a16="http://schemas.microsoft.com/office/drawing/2014/main" id="{AA68FF7A-75FC-4B81-916F-FB3FC06CC937}"/>
              </a:ext>
            </a:extLst>
          </p:cNvPr>
          <p:cNvSpPr>
            <a:spLocks noGrp="1"/>
          </p:cNvSpPr>
          <p:nvPr>
            <p:ph sz="quarter" idx="36"/>
          </p:nvPr>
        </p:nvSpPr>
        <p:spPr>
          <a:xfrm>
            <a:off x="4360609" y="2006352"/>
            <a:ext cx="1371600" cy="1212851"/>
          </a:xfrm>
        </p:spPr>
        <p:txBody>
          <a:bodyPr/>
          <a:lstStyle/>
          <a:p>
            <a:pPr lvl="0"/>
            <a:endParaRPr lang="en-US"/>
          </a:p>
        </p:txBody>
      </p:sp>
      <p:sp>
        <p:nvSpPr>
          <p:cNvPr id="77" name="Content Placeholder 8">
            <a:extLst>
              <a:ext uri="{FF2B5EF4-FFF2-40B4-BE49-F238E27FC236}">
                <a16:creationId xmlns:a16="http://schemas.microsoft.com/office/drawing/2014/main" id="{CEEC785B-F9F4-4E1F-96BD-D131C92846CF}"/>
              </a:ext>
            </a:extLst>
          </p:cNvPr>
          <p:cNvSpPr>
            <a:spLocks noGrp="1"/>
          </p:cNvSpPr>
          <p:nvPr>
            <p:ph sz="quarter" idx="37"/>
          </p:nvPr>
        </p:nvSpPr>
        <p:spPr>
          <a:xfrm>
            <a:off x="6136768" y="2006352"/>
            <a:ext cx="1371600" cy="1212851"/>
          </a:xfrm>
        </p:spPr>
        <p:txBody>
          <a:bodyPr/>
          <a:lstStyle/>
          <a:p>
            <a:pPr lvl="0"/>
            <a:endParaRPr lang="en-US"/>
          </a:p>
        </p:txBody>
      </p:sp>
      <p:sp>
        <p:nvSpPr>
          <p:cNvPr id="78" name="Content Placeholder 8">
            <a:extLst>
              <a:ext uri="{FF2B5EF4-FFF2-40B4-BE49-F238E27FC236}">
                <a16:creationId xmlns:a16="http://schemas.microsoft.com/office/drawing/2014/main" id="{5F1F616B-28BA-4CA4-ABA5-C327F6BF505D}"/>
              </a:ext>
            </a:extLst>
          </p:cNvPr>
          <p:cNvSpPr>
            <a:spLocks noGrp="1"/>
          </p:cNvSpPr>
          <p:nvPr>
            <p:ph sz="quarter" idx="38"/>
          </p:nvPr>
        </p:nvSpPr>
        <p:spPr>
          <a:xfrm>
            <a:off x="7912928" y="2006352"/>
            <a:ext cx="1371600" cy="1212851"/>
          </a:xfrm>
        </p:spPr>
        <p:txBody>
          <a:bodyPr/>
          <a:lstStyle/>
          <a:p>
            <a:pPr lvl="0"/>
            <a:endParaRPr lang="en-US"/>
          </a:p>
        </p:txBody>
      </p:sp>
      <p:sp>
        <p:nvSpPr>
          <p:cNvPr id="79" name="Content Placeholder 8">
            <a:extLst>
              <a:ext uri="{FF2B5EF4-FFF2-40B4-BE49-F238E27FC236}">
                <a16:creationId xmlns:a16="http://schemas.microsoft.com/office/drawing/2014/main" id="{E034E18E-A814-436C-B7F4-6BF5217B4B3A}"/>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54148719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7" name="Picture Placeholder 10">
            <a:extLst>
              <a:ext uri="{FF2B5EF4-FFF2-40B4-BE49-F238E27FC236}">
                <a16:creationId xmlns:a16="http://schemas.microsoft.com/office/drawing/2014/main" id="{3A37354F-5D8F-4122-8D10-71B5BE6F2D69}"/>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139CFAE-67C8-49F4-93FA-4CD36AEFF840}"/>
              </a:ext>
            </a:extLst>
          </p:cNvPr>
          <p:cNvSpPr/>
          <p:nvPr userDrawn="1"/>
        </p:nvSpPr>
        <p:spPr>
          <a:xfrm>
            <a:off x="6478" y="-868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B1D6DFFD-8031-4460-9E9A-B1BC5427B3CD}"/>
              </a:ext>
            </a:extLst>
          </p:cNvPr>
          <p:cNvSpPr/>
          <p:nvPr userDrawn="1"/>
        </p:nvSpPr>
        <p:spPr>
          <a:xfrm>
            <a:off x="1801862" y="1660622"/>
            <a:ext cx="10403093"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532CC4A1-3507-4A90-9299-3F3513F1D807}"/>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153137D-71C3-4985-BC25-CCB9039E3BF9}"/>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1" name="Text Placeholder 6">
            <a:extLst>
              <a:ext uri="{FF2B5EF4-FFF2-40B4-BE49-F238E27FC236}">
                <a16:creationId xmlns:a16="http://schemas.microsoft.com/office/drawing/2014/main" id="{F048CBF5-C11A-417F-B5C6-A8394701C8CF}"/>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2" name="Text Placeholder 4">
            <a:extLst>
              <a:ext uri="{FF2B5EF4-FFF2-40B4-BE49-F238E27FC236}">
                <a16:creationId xmlns:a16="http://schemas.microsoft.com/office/drawing/2014/main" id="{F0EDBE4D-7BD4-45C6-BCF3-63A68A23541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3" name="Straight Connector 32">
            <a:extLst>
              <a:ext uri="{FF2B5EF4-FFF2-40B4-BE49-F238E27FC236}">
                <a16:creationId xmlns:a16="http://schemas.microsoft.com/office/drawing/2014/main" id="{68395F5C-BAD3-4519-A47D-3FE0F94C138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Text Placeholder 6">
            <a:extLst>
              <a:ext uri="{FF2B5EF4-FFF2-40B4-BE49-F238E27FC236}">
                <a16:creationId xmlns:a16="http://schemas.microsoft.com/office/drawing/2014/main" id="{2AF8F5D9-27F7-4B0C-A5BB-A29BC4DDECE5}"/>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5" name="Text Placeholder 4">
            <a:extLst>
              <a:ext uri="{FF2B5EF4-FFF2-40B4-BE49-F238E27FC236}">
                <a16:creationId xmlns:a16="http://schemas.microsoft.com/office/drawing/2014/main" id="{634E7941-4468-4836-9ACA-3645A86CA624}"/>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6" name="Straight Connector 35">
            <a:extLst>
              <a:ext uri="{FF2B5EF4-FFF2-40B4-BE49-F238E27FC236}">
                <a16:creationId xmlns:a16="http://schemas.microsoft.com/office/drawing/2014/main" id="{B1D008EB-E0E9-4D1A-A417-40231887E98A}"/>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6">
            <a:extLst>
              <a:ext uri="{FF2B5EF4-FFF2-40B4-BE49-F238E27FC236}">
                <a16:creationId xmlns:a16="http://schemas.microsoft.com/office/drawing/2014/main" id="{114FB4F8-E3DC-48B6-8728-141A08B6BDD8}"/>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13CC5275-A35F-4AF2-8146-BFAB3E371A2F}"/>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4" name="Straight Connector 43">
            <a:extLst>
              <a:ext uri="{FF2B5EF4-FFF2-40B4-BE49-F238E27FC236}">
                <a16:creationId xmlns:a16="http://schemas.microsoft.com/office/drawing/2014/main" id="{03789E70-72B2-4A7A-9B8D-EBE71A27EEB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5" name="Text Placeholder 6">
            <a:extLst>
              <a:ext uri="{FF2B5EF4-FFF2-40B4-BE49-F238E27FC236}">
                <a16:creationId xmlns:a16="http://schemas.microsoft.com/office/drawing/2014/main" id="{EBAE3ED1-30AC-4DA6-A2CE-47647825C19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E796B00F-CEC6-4C59-B426-4E6CB3BF953B}"/>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7" name="Straight Connector 46">
            <a:extLst>
              <a:ext uri="{FF2B5EF4-FFF2-40B4-BE49-F238E27FC236}">
                <a16:creationId xmlns:a16="http://schemas.microsoft.com/office/drawing/2014/main" id="{F11B3C01-84EB-4FB4-9F4D-2811F6DA0317}"/>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 Placeholder 6">
            <a:extLst>
              <a:ext uri="{FF2B5EF4-FFF2-40B4-BE49-F238E27FC236}">
                <a16:creationId xmlns:a16="http://schemas.microsoft.com/office/drawing/2014/main" id="{E85F395A-16EB-4C39-8222-79321D37B7E0}"/>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84BD3A24-264C-4E6B-8A82-943CC16900B7}"/>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0" name="Content Placeholder 8">
            <a:extLst>
              <a:ext uri="{FF2B5EF4-FFF2-40B4-BE49-F238E27FC236}">
                <a16:creationId xmlns:a16="http://schemas.microsoft.com/office/drawing/2014/main" id="{0083C0A5-1F23-4828-897B-FB004962403F}"/>
              </a:ext>
            </a:extLst>
          </p:cNvPr>
          <p:cNvSpPr>
            <a:spLocks noGrp="1"/>
          </p:cNvSpPr>
          <p:nvPr>
            <p:ph sz="quarter" idx="35"/>
          </p:nvPr>
        </p:nvSpPr>
        <p:spPr>
          <a:xfrm>
            <a:off x="2584450" y="2006352"/>
            <a:ext cx="1371600" cy="1212851"/>
          </a:xfrm>
        </p:spPr>
        <p:txBody>
          <a:bodyPr/>
          <a:lstStyle/>
          <a:p>
            <a:pPr lvl="0"/>
            <a:endParaRPr lang="en-US"/>
          </a:p>
        </p:txBody>
      </p:sp>
      <p:sp>
        <p:nvSpPr>
          <p:cNvPr id="51" name="Content Placeholder 8">
            <a:extLst>
              <a:ext uri="{FF2B5EF4-FFF2-40B4-BE49-F238E27FC236}">
                <a16:creationId xmlns:a16="http://schemas.microsoft.com/office/drawing/2014/main" id="{D06783E0-78E1-4771-95C8-69521247EAB0}"/>
              </a:ext>
            </a:extLst>
          </p:cNvPr>
          <p:cNvSpPr>
            <a:spLocks noGrp="1"/>
          </p:cNvSpPr>
          <p:nvPr>
            <p:ph sz="quarter" idx="36"/>
          </p:nvPr>
        </p:nvSpPr>
        <p:spPr>
          <a:xfrm>
            <a:off x="4360609" y="2006352"/>
            <a:ext cx="1371600" cy="1212851"/>
          </a:xfrm>
        </p:spPr>
        <p:txBody>
          <a:bodyPr/>
          <a:lstStyle/>
          <a:p>
            <a:pPr lvl="0"/>
            <a:endParaRPr lang="en-US"/>
          </a:p>
        </p:txBody>
      </p:sp>
      <p:sp>
        <p:nvSpPr>
          <p:cNvPr id="52" name="Content Placeholder 8">
            <a:extLst>
              <a:ext uri="{FF2B5EF4-FFF2-40B4-BE49-F238E27FC236}">
                <a16:creationId xmlns:a16="http://schemas.microsoft.com/office/drawing/2014/main" id="{FB6690EA-5740-42EB-BA1F-B61209118608}"/>
              </a:ext>
            </a:extLst>
          </p:cNvPr>
          <p:cNvSpPr>
            <a:spLocks noGrp="1"/>
          </p:cNvSpPr>
          <p:nvPr>
            <p:ph sz="quarter" idx="37"/>
          </p:nvPr>
        </p:nvSpPr>
        <p:spPr>
          <a:xfrm>
            <a:off x="6136768" y="2006352"/>
            <a:ext cx="1371600" cy="1212851"/>
          </a:xfrm>
        </p:spPr>
        <p:txBody>
          <a:bodyPr/>
          <a:lstStyle/>
          <a:p>
            <a:pPr lvl="0"/>
            <a:endParaRPr lang="en-US"/>
          </a:p>
        </p:txBody>
      </p:sp>
      <p:sp>
        <p:nvSpPr>
          <p:cNvPr id="53" name="Content Placeholder 8">
            <a:extLst>
              <a:ext uri="{FF2B5EF4-FFF2-40B4-BE49-F238E27FC236}">
                <a16:creationId xmlns:a16="http://schemas.microsoft.com/office/drawing/2014/main" id="{DCE4B381-919C-47E6-A201-39A243F5960F}"/>
              </a:ext>
            </a:extLst>
          </p:cNvPr>
          <p:cNvSpPr>
            <a:spLocks noGrp="1"/>
          </p:cNvSpPr>
          <p:nvPr>
            <p:ph sz="quarter" idx="38"/>
          </p:nvPr>
        </p:nvSpPr>
        <p:spPr>
          <a:xfrm>
            <a:off x="7912928"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6C34F396-C7A6-4F23-9AE9-3AD0FFDFC12E}"/>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3434710924"/>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2" name="Picture Placeholder 10">
            <a:extLst>
              <a:ext uri="{FF2B5EF4-FFF2-40B4-BE49-F238E27FC236}">
                <a16:creationId xmlns:a16="http://schemas.microsoft.com/office/drawing/2014/main" id="{25DD78CA-6BF3-40EA-BF74-FB999653D254}"/>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ECE95F3-4416-4C23-813B-9E51904E1921}"/>
              </a:ext>
            </a:extLst>
          </p:cNvPr>
          <p:cNvSpPr/>
          <p:nvPr userDrawn="1"/>
        </p:nvSpPr>
        <p:spPr>
          <a:xfrm>
            <a:off x="17908" y="-2011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EE071AD6-BB21-4AEE-A7A2-180E02759877}"/>
              </a:ext>
            </a:extLst>
          </p:cNvPr>
          <p:cNvSpPr/>
          <p:nvPr userDrawn="1"/>
        </p:nvSpPr>
        <p:spPr>
          <a:xfrm>
            <a:off x="1801862" y="1660622"/>
            <a:ext cx="1037223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476D36A4-3F29-432F-B7CD-C5D9FA67B7F2}"/>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CD67C4E-27D2-4371-A4FB-8349D74F985B}"/>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4" name="Text Placeholder 6">
            <a:extLst>
              <a:ext uri="{FF2B5EF4-FFF2-40B4-BE49-F238E27FC236}">
                <a16:creationId xmlns:a16="http://schemas.microsoft.com/office/drawing/2014/main" id="{9F9BE725-1355-4317-AF31-A51EBF5CBA4B}"/>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6" name="Text Placeholder 4">
            <a:extLst>
              <a:ext uri="{FF2B5EF4-FFF2-40B4-BE49-F238E27FC236}">
                <a16:creationId xmlns:a16="http://schemas.microsoft.com/office/drawing/2014/main" id="{FED3EADA-BBDA-41AF-8A0F-8682D4EF3C9E}"/>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2B92363E-192C-4A2D-B7B9-43E961A972A7}"/>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3" name="Text Placeholder 6">
            <a:extLst>
              <a:ext uri="{FF2B5EF4-FFF2-40B4-BE49-F238E27FC236}">
                <a16:creationId xmlns:a16="http://schemas.microsoft.com/office/drawing/2014/main" id="{3502355C-A0B9-44B1-8B6C-85F5B5F61408}"/>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4" name="Text Placeholder 4">
            <a:extLst>
              <a:ext uri="{FF2B5EF4-FFF2-40B4-BE49-F238E27FC236}">
                <a16:creationId xmlns:a16="http://schemas.microsoft.com/office/drawing/2014/main" id="{05FE659B-205A-4A3C-9429-283DB0F88CDE}"/>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5" name="Straight Connector 44">
            <a:extLst>
              <a:ext uri="{FF2B5EF4-FFF2-40B4-BE49-F238E27FC236}">
                <a16:creationId xmlns:a16="http://schemas.microsoft.com/office/drawing/2014/main" id="{9D2DC158-ECBD-4857-9CF1-6E6B413A32CD}"/>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Text Placeholder 6">
            <a:extLst>
              <a:ext uri="{FF2B5EF4-FFF2-40B4-BE49-F238E27FC236}">
                <a16:creationId xmlns:a16="http://schemas.microsoft.com/office/drawing/2014/main" id="{6BE46D65-405B-4A5E-AC06-1CDE1FDF354D}"/>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7" name="Text Placeholder 4">
            <a:extLst>
              <a:ext uri="{FF2B5EF4-FFF2-40B4-BE49-F238E27FC236}">
                <a16:creationId xmlns:a16="http://schemas.microsoft.com/office/drawing/2014/main" id="{AD50AC3D-F02F-45D4-9E38-37D2B9FE8803}"/>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8" name="Straight Connector 47">
            <a:extLst>
              <a:ext uri="{FF2B5EF4-FFF2-40B4-BE49-F238E27FC236}">
                <a16:creationId xmlns:a16="http://schemas.microsoft.com/office/drawing/2014/main" id="{0322F98F-E1D1-4E02-B9E0-05F361758DF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74DADB41-A09D-4A1D-A0A4-7B9FC5C02B70}"/>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0" name="Text Placeholder 4">
            <a:extLst>
              <a:ext uri="{FF2B5EF4-FFF2-40B4-BE49-F238E27FC236}">
                <a16:creationId xmlns:a16="http://schemas.microsoft.com/office/drawing/2014/main" id="{45528FC1-30E7-4F13-B072-C094B1594A5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51" name="Straight Connector 50">
            <a:extLst>
              <a:ext uri="{FF2B5EF4-FFF2-40B4-BE49-F238E27FC236}">
                <a16:creationId xmlns:a16="http://schemas.microsoft.com/office/drawing/2014/main" id="{9514236B-7384-4EAD-B319-7110C8148410}"/>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2" name="Text Placeholder 6">
            <a:extLst>
              <a:ext uri="{FF2B5EF4-FFF2-40B4-BE49-F238E27FC236}">
                <a16:creationId xmlns:a16="http://schemas.microsoft.com/office/drawing/2014/main" id="{D6C27ACC-B841-4936-80AD-B482C4DBF2B6}"/>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3" name="Text Placeholder 4">
            <a:extLst>
              <a:ext uri="{FF2B5EF4-FFF2-40B4-BE49-F238E27FC236}">
                <a16:creationId xmlns:a16="http://schemas.microsoft.com/office/drawing/2014/main" id="{9E96B1CF-9B5F-4C8A-809D-F84B2D1F0509}"/>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4" name="Content Placeholder 8">
            <a:extLst>
              <a:ext uri="{FF2B5EF4-FFF2-40B4-BE49-F238E27FC236}">
                <a16:creationId xmlns:a16="http://schemas.microsoft.com/office/drawing/2014/main" id="{FA8F5C28-0BF0-4F0F-9FFC-8FAB37359605}"/>
              </a:ext>
            </a:extLst>
          </p:cNvPr>
          <p:cNvSpPr>
            <a:spLocks noGrp="1"/>
          </p:cNvSpPr>
          <p:nvPr>
            <p:ph sz="quarter" idx="35"/>
          </p:nvPr>
        </p:nvSpPr>
        <p:spPr>
          <a:xfrm>
            <a:off x="2584450"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AD8DCA56-553E-4EEB-BCFA-183F226680A9}"/>
              </a:ext>
            </a:extLst>
          </p:cNvPr>
          <p:cNvSpPr>
            <a:spLocks noGrp="1"/>
          </p:cNvSpPr>
          <p:nvPr>
            <p:ph sz="quarter" idx="36"/>
          </p:nvPr>
        </p:nvSpPr>
        <p:spPr>
          <a:xfrm>
            <a:off x="4360609"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BDFA5985-6C40-4B75-943A-499A915E8FF9}"/>
              </a:ext>
            </a:extLst>
          </p:cNvPr>
          <p:cNvSpPr>
            <a:spLocks noGrp="1"/>
          </p:cNvSpPr>
          <p:nvPr>
            <p:ph sz="quarter" idx="37"/>
          </p:nvPr>
        </p:nvSpPr>
        <p:spPr>
          <a:xfrm>
            <a:off x="613676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929A63FF-CD1F-4E37-AE6E-E07CC1C51BC1}"/>
              </a:ext>
            </a:extLst>
          </p:cNvPr>
          <p:cNvSpPr>
            <a:spLocks noGrp="1"/>
          </p:cNvSpPr>
          <p:nvPr>
            <p:ph sz="quarter" idx="38"/>
          </p:nvPr>
        </p:nvSpPr>
        <p:spPr>
          <a:xfrm>
            <a:off x="7912928" y="2006352"/>
            <a:ext cx="1371600" cy="1212851"/>
          </a:xfrm>
        </p:spPr>
        <p:txBody>
          <a:bodyPr/>
          <a:lstStyle/>
          <a:p>
            <a:pPr lvl="0"/>
            <a:endParaRPr lang="en-US"/>
          </a:p>
        </p:txBody>
      </p:sp>
      <p:sp>
        <p:nvSpPr>
          <p:cNvPr id="58" name="Content Placeholder 8">
            <a:extLst>
              <a:ext uri="{FF2B5EF4-FFF2-40B4-BE49-F238E27FC236}">
                <a16:creationId xmlns:a16="http://schemas.microsoft.com/office/drawing/2014/main" id="{D7D1D8A3-B353-4851-9BD2-4ED08D66782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744126987"/>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96EF0C7-5E69-403C-8006-E9A1695D969C}"/>
              </a:ext>
            </a:extLst>
          </p:cNvPr>
          <p:cNvSpPr>
            <a:spLocks noGrp="1"/>
          </p:cNvSpPr>
          <p:nvPr>
            <p:ph type="pic" sz="quarter" idx="40"/>
          </p:nvPr>
        </p:nvSpPr>
        <p:spPr>
          <a:xfrm>
            <a:off x="2170078" y="-11152"/>
            <a:ext cx="10018580" cy="6892819"/>
          </a:xfrm>
        </p:spPr>
        <p:txBody>
          <a:bodyPr/>
          <a:lstStyle/>
          <a:p>
            <a:endParaRPr lang="en-US"/>
          </a:p>
        </p:txBody>
      </p:sp>
      <p:sp>
        <p:nvSpPr>
          <p:cNvPr id="23" name="Rectangle 22">
            <a:extLst>
              <a:ext uri="{FF2B5EF4-FFF2-40B4-BE49-F238E27FC236}">
                <a16:creationId xmlns:a16="http://schemas.microsoft.com/office/drawing/2014/main" id="{4E41E956-6F9A-4E7D-980E-F88BD6A04B49}"/>
              </a:ext>
            </a:extLst>
          </p:cNvPr>
          <p:cNvSpPr/>
          <p:nvPr userDrawn="1"/>
        </p:nvSpPr>
        <p:spPr>
          <a:xfrm>
            <a:off x="3342" y="-5"/>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9102C3F4-DBDC-4BB8-A560-4F3C2641A0CD}"/>
              </a:ext>
            </a:extLst>
          </p:cNvPr>
          <p:cNvSpPr/>
          <p:nvPr userDrawn="1"/>
        </p:nvSpPr>
        <p:spPr>
          <a:xfrm>
            <a:off x="1801863" y="1660622"/>
            <a:ext cx="1039348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0" name="Title 2">
            <a:extLst>
              <a:ext uri="{FF2B5EF4-FFF2-40B4-BE49-F238E27FC236}">
                <a16:creationId xmlns:a16="http://schemas.microsoft.com/office/drawing/2014/main" id="{6E825BC2-097C-46AB-A447-CF09BEE52C86}"/>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3" name="Text Placeholder 6">
            <a:extLst>
              <a:ext uri="{FF2B5EF4-FFF2-40B4-BE49-F238E27FC236}">
                <a16:creationId xmlns:a16="http://schemas.microsoft.com/office/drawing/2014/main" id="{15425519-6B84-48F8-AB76-FF42398D43E5}"/>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4" name="Text Placeholder 4">
            <a:extLst>
              <a:ext uri="{FF2B5EF4-FFF2-40B4-BE49-F238E27FC236}">
                <a16:creationId xmlns:a16="http://schemas.microsoft.com/office/drawing/2014/main" id="{135E1549-AAFB-4ED5-B09C-8AEA5F6CB9D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2" name="Text Placeholder 6">
            <a:extLst>
              <a:ext uri="{FF2B5EF4-FFF2-40B4-BE49-F238E27FC236}">
                <a16:creationId xmlns:a16="http://schemas.microsoft.com/office/drawing/2014/main" id="{DF4CB509-B687-46CD-8C37-5B76727EA291}"/>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224A9926-DBEB-48C8-8EB9-C4C9C16E5653}"/>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5" name="Text Placeholder 6">
            <a:extLst>
              <a:ext uri="{FF2B5EF4-FFF2-40B4-BE49-F238E27FC236}">
                <a16:creationId xmlns:a16="http://schemas.microsoft.com/office/drawing/2014/main" id="{A9C63AF3-03FD-4F44-AEA2-D5CD47B6E629}"/>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67C18788-C186-4FE2-90B9-2AF658044799}"/>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8" name="Text Placeholder 6">
            <a:extLst>
              <a:ext uri="{FF2B5EF4-FFF2-40B4-BE49-F238E27FC236}">
                <a16:creationId xmlns:a16="http://schemas.microsoft.com/office/drawing/2014/main" id="{2EB2BB71-0863-47EF-8FD6-BDA452FCCB78}"/>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FD3E8176-80C4-45F0-91BC-D8D1E46AAA9A}"/>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1" name="Text Placeholder 6">
            <a:extLst>
              <a:ext uri="{FF2B5EF4-FFF2-40B4-BE49-F238E27FC236}">
                <a16:creationId xmlns:a16="http://schemas.microsoft.com/office/drawing/2014/main" id="{1AAF832B-108E-4CAC-8951-CCE325EB112F}"/>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2" name="Text Placeholder 4">
            <a:extLst>
              <a:ext uri="{FF2B5EF4-FFF2-40B4-BE49-F238E27FC236}">
                <a16:creationId xmlns:a16="http://schemas.microsoft.com/office/drawing/2014/main" id="{B5FDE791-75FB-43F0-83BC-453D5A1C492C}"/>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3" name="Content Placeholder 8">
            <a:extLst>
              <a:ext uri="{FF2B5EF4-FFF2-40B4-BE49-F238E27FC236}">
                <a16:creationId xmlns:a16="http://schemas.microsoft.com/office/drawing/2014/main" id="{FF07AF7C-F90E-4133-BEC5-75E0089B4ED6}"/>
              </a:ext>
            </a:extLst>
          </p:cNvPr>
          <p:cNvSpPr>
            <a:spLocks noGrp="1"/>
          </p:cNvSpPr>
          <p:nvPr>
            <p:ph sz="quarter" idx="35"/>
          </p:nvPr>
        </p:nvSpPr>
        <p:spPr>
          <a:xfrm>
            <a:off x="2584450"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DDC47CD1-E5EF-4CEF-B526-34AE77C1CD54}"/>
              </a:ext>
            </a:extLst>
          </p:cNvPr>
          <p:cNvSpPr>
            <a:spLocks noGrp="1"/>
          </p:cNvSpPr>
          <p:nvPr>
            <p:ph sz="quarter" idx="36"/>
          </p:nvPr>
        </p:nvSpPr>
        <p:spPr>
          <a:xfrm>
            <a:off x="4360609"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47FC85AA-6100-48BC-BFF8-B39D403404CF}"/>
              </a:ext>
            </a:extLst>
          </p:cNvPr>
          <p:cNvSpPr>
            <a:spLocks noGrp="1"/>
          </p:cNvSpPr>
          <p:nvPr>
            <p:ph sz="quarter" idx="37"/>
          </p:nvPr>
        </p:nvSpPr>
        <p:spPr>
          <a:xfrm>
            <a:off x="6136768"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40EDA783-7D8E-4E3E-ADF7-D61627182526}"/>
              </a:ext>
            </a:extLst>
          </p:cNvPr>
          <p:cNvSpPr>
            <a:spLocks noGrp="1"/>
          </p:cNvSpPr>
          <p:nvPr>
            <p:ph sz="quarter" idx="38"/>
          </p:nvPr>
        </p:nvSpPr>
        <p:spPr>
          <a:xfrm>
            <a:off x="791292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4A6144E7-FA10-4076-9360-415CD8A21D0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707397444"/>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65942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Isosceles Triangle 15">
            <a:extLst>
              <a:ext uri="{FF2B5EF4-FFF2-40B4-BE49-F238E27FC236}">
                <a16:creationId xmlns:a16="http://schemas.microsoft.com/office/drawing/2014/main" id="{8D577191-9F4A-4B42-9047-0EF44B00A83D}"/>
              </a:ext>
            </a:extLst>
          </p:cNvPr>
          <p:cNvSpPr/>
          <p:nvPr userDrawn="1"/>
        </p:nvSpPr>
        <p:spPr>
          <a:xfrm flipH="1">
            <a:off x="-19400" y="4858074"/>
            <a:ext cx="8089263" cy="2125254"/>
          </a:xfrm>
          <a:custGeom>
            <a:avLst/>
            <a:gdLst>
              <a:gd name="connsiteX0" fmla="*/ 0 w 5269794"/>
              <a:gd name="connsiteY0" fmla="*/ 1664962 h 1664962"/>
              <a:gd name="connsiteX1" fmla="*/ 2634897 w 5269794"/>
              <a:gd name="connsiteY1" fmla="*/ 0 h 1664962"/>
              <a:gd name="connsiteX2" fmla="*/ 5269794 w 5269794"/>
              <a:gd name="connsiteY2" fmla="*/ 1664962 h 1664962"/>
              <a:gd name="connsiteX3" fmla="*/ 0 w 5269794"/>
              <a:gd name="connsiteY3" fmla="*/ 1664962 h 1664962"/>
              <a:gd name="connsiteX0" fmla="*/ 0 w 5435247"/>
              <a:gd name="connsiteY0" fmla="*/ 2350762 h 2350762"/>
              <a:gd name="connsiteX1" fmla="*/ 5435247 w 5435247"/>
              <a:gd name="connsiteY1" fmla="*/ 0 h 2350762"/>
              <a:gd name="connsiteX2" fmla="*/ 5269794 w 5435247"/>
              <a:gd name="connsiteY2" fmla="*/ 2350762 h 2350762"/>
              <a:gd name="connsiteX3" fmla="*/ 0 w 5435247"/>
              <a:gd name="connsiteY3" fmla="*/ 2350762 h 2350762"/>
              <a:gd name="connsiteX0" fmla="*/ 0 w 5450769"/>
              <a:gd name="connsiteY0" fmla="*/ 2350762 h 2465062"/>
              <a:gd name="connsiteX1" fmla="*/ 5435247 w 5450769"/>
              <a:gd name="connsiteY1" fmla="*/ 0 h 2465062"/>
              <a:gd name="connsiteX2" fmla="*/ 5450769 w 5450769"/>
              <a:gd name="connsiteY2" fmla="*/ 2465062 h 2465062"/>
              <a:gd name="connsiteX3" fmla="*/ 0 w 5450769"/>
              <a:gd name="connsiteY3" fmla="*/ 2350762 h 2465062"/>
              <a:gd name="connsiteX0" fmla="*/ 0 w 5435247"/>
              <a:gd name="connsiteY0" fmla="*/ 2350762 h 2474587"/>
              <a:gd name="connsiteX1" fmla="*/ 5435247 w 5435247"/>
              <a:gd name="connsiteY1" fmla="*/ 0 h 2474587"/>
              <a:gd name="connsiteX2" fmla="*/ 5431719 w 5435247"/>
              <a:gd name="connsiteY2" fmla="*/ 2474587 h 2474587"/>
              <a:gd name="connsiteX3" fmla="*/ 0 w 5435247"/>
              <a:gd name="connsiteY3" fmla="*/ 2350762 h 2474587"/>
              <a:gd name="connsiteX0" fmla="*/ 0 w 5416197"/>
              <a:gd name="connsiteY0" fmla="*/ 2474587 h 2474587"/>
              <a:gd name="connsiteX1" fmla="*/ 5416197 w 5416197"/>
              <a:gd name="connsiteY1" fmla="*/ 0 h 2474587"/>
              <a:gd name="connsiteX2" fmla="*/ 5412669 w 5416197"/>
              <a:gd name="connsiteY2" fmla="*/ 2474587 h 2474587"/>
              <a:gd name="connsiteX3" fmla="*/ 0 w 5416197"/>
              <a:gd name="connsiteY3" fmla="*/ 2474587 h 2474587"/>
              <a:gd name="connsiteX0" fmla="*/ 0 w 5435247"/>
              <a:gd name="connsiteY0" fmla="*/ 2503162 h 2503162"/>
              <a:gd name="connsiteX1" fmla="*/ 5435247 w 5435247"/>
              <a:gd name="connsiteY1" fmla="*/ 0 h 2503162"/>
              <a:gd name="connsiteX2" fmla="*/ 5412669 w 5435247"/>
              <a:gd name="connsiteY2" fmla="*/ 2503162 h 2503162"/>
              <a:gd name="connsiteX3" fmla="*/ 0 w 5435247"/>
              <a:gd name="connsiteY3" fmla="*/ 2503162 h 2503162"/>
              <a:gd name="connsiteX0" fmla="*/ 0 w 5412669"/>
              <a:gd name="connsiteY0" fmla="*/ 2484112 h 2484112"/>
              <a:gd name="connsiteX1" fmla="*/ 5368572 w 5412669"/>
              <a:gd name="connsiteY1" fmla="*/ 0 h 2484112"/>
              <a:gd name="connsiteX2" fmla="*/ 5412669 w 5412669"/>
              <a:gd name="connsiteY2" fmla="*/ 2484112 h 2484112"/>
              <a:gd name="connsiteX3" fmla="*/ 0 w 5412669"/>
              <a:gd name="connsiteY3" fmla="*/ 2484112 h 2484112"/>
              <a:gd name="connsiteX0" fmla="*/ 0 w 5416197"/>
              <a:gd name="connsiteY0" fmla="*/ 2465062 h 2465062"/>
              <a:gd name="connsiteX1" fmla="*/ 5416197 w 5416197"/>
              <a:gd name="connsiteY1" fmla="*/ 0 h 2465062"/>
              <a:gd name="connsiteX2" fmla="*/ 5412669 w 5416197"/>
              <a:gd name="connsiteY2" fmla="*/ 2465062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407912 h 2465062"/>
              <a:gd name="connsiteX3" fmla="*/ 0 w 5416197"/>
              <a:gd name="connsiteY3" fmla="*/ 2465062 h 2465062"/>
              <a:gd name="connsiteX0" fmla="*/ 0 w 5416197"/>
              <a:gd name="connsiteY0" fmla="*/ 2465062 h 2465062"/>
              <a:gd name="connsiteX1" fmla="*/ 5416197 w 5416197"/>
              <a:gd name="connsiteY1" fmla="*/ 0 h 2465062"/>
              <a:gd name="connsiteX2" fmla="*/ 5384094 w 5416197"/>
              <a:gd name="connsiteY2" fmla="*/ 2455537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350762 h 2465062"/>
              <a:gd name="connsiteX3" fmla="*/ 0 w 5416197"/>
              <a:gd name="connsiteY3" fmla="*/ 2465062 h 2465062"/>
              <a:gd name="connsiteX0" fmla="*/ 0 w 5416197"/>
              <a:gd name="connsiteY0" fmla="*/ 2465062 h 2474587"/>
              <a:gd name="connsiteX1" fmla="*/ 5416197 w 5416197"/>
              <a:gd name="connsiteY1" fmla="*/ 0 h 2474587"/>
              <a:gd name="connsiteX2" fmla="*/ 5403144 w 5416197"/>
              <a:gd name="connsiteY2" fmla="*/ 2474587 h 2474587"/>
              <a:gd name="connsiteX3" fmla="*/ 0 w 5416197"/>
              <a:gd name="connsiteY3" fmla="*/ 2465062 h 2474587"/>
              <a:gd name="connsiteX0" fmla="*/ 0 w 5416197"/>
              <a:gd name="connsiteY0" fmla="*/ 2388862 h 2398387"/>
              <a:gd name="connsiteX1" fmla="*/ 5416197 w 5416197"/>
              <a:gd name="connsiteY1" fmla="*/ 0 h 2398387"/>
              <a:gd name="connsiteX2" fmla="*/ 5403144 w 5416197"/>
              <a:gd name="connsiteY2" fmla="*/ 2398387 h 2398387"/>
              <a:gd name="connsiteX3" fmla="*/ 0 w 5416197"/>
              <a:gd name="connsiteY3" fmla="*/ 2388862 h 2398387"/>
              <a:gd name="connsiteX0" fmla="*/ 0 w 6419578"/>
              <a:gd name="connsiteY0" fmla="*/ 2305735 h 2398387"/>
              <a:gd name="connsiteX1" fmla="*/ 6419578 w 6419578"/>
              <a:gd name="connsiteY1" fmla="*/ 0 h 2398387"/>
              <a:gd name="connsiteX2" fmla="*/ 6406525 w 6419578"/>
              <a:gd name="connsiteY2" fmla="*/ 2398387 h 2398387"/>
              <a:gd name="connsiteX3" fmla="*/ 0 w 6419578"/>
              <a:gd name="connsiteY3" fmla="*/ 2305735 h 2398387"/>
              <a:gd name="connsiteX0" fmla="*/ 0 w 6438509"/>
              <a:gd name="connsiteY0" fmla="*/ 1711968 h 1804620"/>
              <a:gd name="connsiteX1" fmla="*/ 6438509 w 6438509"/>
              <a:gd name="connsiteY1" fmla="*/ 0 h 1804620"/>
              <a:gd name="connsiteX2" fmla="*/ 6406525 w 6438509"/>
              <a:gd name="connsiteY2" fmla="*/ 1804620 h 1804620"/>
              <a:gd name="connsiteX3" fmla="*/ 0 w 6438509"/>
              <a:gd name="connsiteY3" fmla="*/ 1711968 h 1804620"/>
              <a:gd name="connsiteX0" fmla="*/ 0 w 6447975"/>
              <a:gd name="connsiteY0" fmla="*/ 2032602 h 2125254"/>
              <a:gd name="connsiteX1" fmla="*/ 6447975 w 6447975"/>
              <a:gd name="connsiteY1" fmla="*/ 0 h 2125254"/>
              <a:gd name="connsiteX2" fmla="*/ 6406525 w 6447975"/>
              <a:gd name="connsiteY2" fmla="*/ 2125254 h 2125254"/>
              <a:gd name="connsiteX3" fmla="*/ 0 w 6447975"/>
              <a:gd name="connsiteY3" fmla="*/ 2032602 h 2125254"/>
              <a:gd name="connsiteX0" fmla="*/ 0 w 6447975"/>
              <a:gd name="connsiteY0" fmla="*/ 2032602 h 2125254"/>
              <a:gd name="connsiteX1" fmla="*/ 6447975 w 6447975"/>
              <a:gd name="connsiteY1" fmla="*/ 0 h 2125254"/>
              <a:gd name="connsiteX2" fmla="*/ 6447975 w 6447975"/>
              <a:gd name="connsiteY2" fmla="*/ 2125254 h 2125254"/>
              <a:gd name="connsiteX3" fmla="*/ 0 w 6447975"/>
              <a:gd name="connsiteY3" fmla="*/ 2032602 h 2125254"/>
            </a:gdLst>
            <a:ahLst/>
            <a:cxnLst>
              <a:cxn ang="0">
                <a:pos x="connsiteX0" y="connsiteY0"/>
              </a:cxn>
              <a:cxn ang="0">
                <a:pos x="connsiteX1" y="connsiteY1"/>
              </a:cxn>
              <a:cxn ang="0">
                <a:pos x="connsiteX2" y="connsiteY2"/>
              </a:cxn>
              <a:cxn ang="0">
                <a:pos x="connsiteX3" y="connsiteY3"/>
              </a:cxn>
            </a:cxnLst>
            <a:rect l="l" t="t" r="r" b="b"/>
            <a:pathLst>
              <a:path w="6447975" h="2125254">
                <a:moveTo>
                  <a:pt x="0" y="2032602"/>
                </a:moveTo>
                <a:lnTo>
                  <a:pt x="6447975" y="0"/>
                </a:lnTo>
                <a:lnTo>
                  <a:pt x="6447975" y="2125254"/>
                </a:lnTo>
                <a:lnTo>
                  <a:pt x="0" y="2032602"/>
                </a:lnTo>
                <a:close/>
              </a:path>
            </a:pathLst>
          </a:custGeom>
          <a:blipFill dpi="0" rotWithShape="1">
            <a:blip r:embed="rId2">
              <a:extLst>
                <a:ext uri="{28A0092B-C50C-407E-A947-70E740481C1C}">
                  <a14:useLocalDpi xmlns:a14="http://schemas.microsoft.com/office/drawing/2010/main" val="0"/>
                </a:ext>
              </a:extLst>
            </a:blip>
            <a:srcRect/>
            <a:stretch>
              <a:fillRect l="-4983" t="-66146" r="-32683" b="-1455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9401" y="4858075"/>
            <a:ext cx="8029289" cy="1999926"/>
          </a:xfrm>
          <a:prstGeom prst="triangle">
            <a:avLst>
              <a:gd name="adj" fmla="val 520"/>
            </a:avLst>
          </a:prstGeom>
        </p:spPr>
        <p:txBody>
          <a:bodyPr/>
          <a:lstStyle/>
          <a:p>
            <a:endParaRPr lang="en-US"/>
          </a:p>
        </p:txBody>
      </p:sp>
      <p:sp>
        <p:nvSpPr>
          <p:cNvPr id="29" name="Isosceles Triangle 25">
            <a:extLst>
              <a:ext uri="{FF2B5EF4-FFF2-40B4-BE49-F238E27FC236}">
                <a16:creationId xmlns:a16="http://schemas.microsoft.com/office/drawing/2014/main" id="{9B64129C-DF8D-4129-8878-D5188B6C5AB9}"/>
              </a:ext>
            </a:extLst>
          </p:cNvPr>
          <p:cNvSpPr/>
          <p:nvPr userDrawn="1"/>
        </p:nvSpPr>
        <p:spPr>
          <a:xfrm>
            <a:off x="-22526" y="4855805"/>
            <a:ext cx="8179248" cy="2121795"/>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43519"/>
              <a:gd name="connsiteY0" fmla="*/ 1362456 h 1362456"/>
              <a:gd name="connsiteX1" fmla="*/ 0 w 8143519"/>
              <a:gd name="connsiteY1" fmla="*/ 0 h 1362456"/>
              <a:gd name="connsiteX2" fmla="*/ 8143519 w 8143519"/>
              <a:gd name="connsiteY2" fmla="*/ 1325847 h 1362456"/>
              <a:gd name="connsiteX3" fmla="*/ 0 w 8143519"/>
              <a:gd name="connsiteY3" fmla="*/ 1362456 h 1362456"/>
            </a:gdLst>
            <a:ahLst/>
            <a:cxnLst>
              <a:cxn ang="0">
                <a:pos x="connsiteX0" y="connsiteY0"/>
              </a:cxn>
              <a:cxn ang="0">
                <a:pos x="connsiteX1" y="connsiteY1"/>
              </a:cxn>
              <a:cxn ang="0">
                <a:pos x="connsiteX2" y="connsiteY2"/>
              </a:cxn>
              <a:cxn ang="0">
                <a:pos x="connsiteX3" y="connsiteY3"/>
              </a:cxn>
            </a:cxnLst>
            <a:rect l="l" t="t" r="r" b="b"/>
            <a:pathLst>
              <a:path w="8143519" h="1362456">
                <a:moveTo>
                  <a:pt x="0" y="1362456"/>
                </a:moveTo>
                <a:lnTo>
                  <a:pt x="0" y="0"/>
                </a:lnTo>
                <a:lnTo>
                  <a:pt x="8143519" y="1325847"/>
                </a:lnTo>
                <a:lnTo>
                  <a:pt x="0" y="1362456"/>
                </a:lnTo>
                <a:close/>
              </a:path>
            </a:pathLst>
          </a:custGeom>
          <a:solidFill>
            <a:srgbClr val="84BD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p:nvPr>
        </p:nvSpPr>
        <p:spPr>
          <a:xfrm>
            <a:off x="8249966"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508026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276965"/>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710678" y="1153403"/>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015512"/>
            <a:ext cx="45720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a:off x="6379779" y="3015512"/>
            <a:ext cx="4572000"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7"/>
            <a:ext cx="3340928"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997860" y="1039384"/>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497674"/>
            <a:ext cx="5584648"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6306207" y="2497674"/>
            <a:ext cx="5297214"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6306207" y="3332983"/>
            <a:ext cx="5297214"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5584648"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77349152"/>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183960"/>
            <a:ext cx="5794197"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7010065"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7010065"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EFA7C656-511B-4CA6-9B24-BAB01661044F}"/>
              </a:ext>
            </a:extLst>
          </p:cNvPr>
          <p:cNvSpPr>
            <a:spLocks noGrp="1"/>
          </p:cNvSpPr>
          <p:nvPr>
            <p:ph type="ftr" sz="quarter" idx="20"/>
          </p:nvPr>
        </p:nvSpPr>
        <p:spPr/>
        <p:txBody>
          <a:bodyPr/>
          <a:lstStyle/>
          <a:p>
            <a:endParaRPr lang="en-US"/>
          </a:p>
        </p:txBody>
      </p:sp>
      <p:sp>
        <p:nvSpPr>
          <p:cNvPr id="3" name="Slide Number Placeholder 2">
            <a:extLst>
              <a:ext uri="{FF2B5EF4-FFF2-40B4-BE49-F238E27FC236}">
                <a16:creationId xmlns:a16="http://schemas.microsoft.com/office/drawing/2014/main" id="{BC3E1D24-A876-40E6-94FB-9319E9649312}"/>
              </a:ext>
            </a:extLst>
          </p:cNvPr>
          <p:cNvSpPr>
            <a:spLocks noGrp="1"/>
          </p:cNvSpPr>
          <p:nvPr>
            <p:ph type="sldNum" sz="quarter" idx="21"/>
          </p:nvPr>
        </p:nvSpPr>
        <p:spPr/>
        <p:txBody>
          <a:bodyPr/>
          <a:lstStyle/>
          <a:p>
            <a:fld id="{6358EE78-369A-4A83-91BE-CE1CDBA0BAF0}" type="slidenum">
              <a:rPr lang="en-US" smtClean="0"/>
              <a:pPr/>
              <a:t>‹#›</a:t>
            </a:fld>
            <a:endParaRPr lang="en-US"/>
          </a:p>
        </p:txBody>
      </p:sp>
    </p:spTree>
    <p:extLst>
      <p:ext uri="{BB962C8B-B14F-4D97-AF65-F5344CB8AC3E}">
        <p14:creationId xmlns:p14="http://schemas.microsoft.com/office/powerpoint/2010/main" val="1455211286"/>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37377-0770-4858-9163-011864D7EA05}"/>
              </a:ext>
            </a:extLst>
          </p:cNvPr>
          <p:cNvSpPr>
            <a:spLocks noGrp="1"/>
          </p:cNvSpPr>
          <p:nvPr>
            <p:ph type="title"/>
          </p:nvPr>
        </p:nvSpPr>
        <p:spPr>
          <a:xfrm>
            <a:off x="366251" y="0"/>
            <a:ext cx="10515600" cy="1325563"/>
          </a:xfrm>
        </p:spPr>
        <p:txBody>
          <a:bodyPr/>
          <a:lstStyle>
            <a:lvl1pPr>
              <a:defRPr b="1"/>
            </a:lvl1pPr>
          </a:lstStyle>
          <a:p>
            <a:r>
              <a:rPr lang="en-US"/>
              <a:t>Click to edit Master title style</a:t>
            </a:r>
          </a:p>
        </p:txBody>
      </p:sp>
      <p:sp>
        <p:nvSpPr>
          <p:cNvPr id="5" name="Slide Number Placeholder 4">
            <a:extLst>
              <a:ext uri="{FF2B5EF4-FFF2-40B4-BE49-F238E27FC236}">
                <a16:creationId xmlns:a16="http://schemas.microsoft.com/office/drawing/2014/main" id="{0E3C6576-CD1B-419F-A982-C41FAF12197E}"/>
              </a:ext>
            </a:extLst>
          </p:cNvPr>
          <p:cNvSpPr txBox="1">
            <a:spLocks/>
          </p:cNvSpPr>
          <p:nvPr userDrawn="1"/>
        </p:nvSpPr>
        <p:spPr>
          <a:xfrm>
            <a:off x="10163992" y="6492875"/>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pPr>
              <a:defRPr/>
            </a:pPr>
            <a:fld id="{6358EE78-369A-4A83-91BE-CE1CDBA0BAF0}" type="slidenum">
              <a:rPr lang="en-US" sz="1100" b="1" smtClean="0">
                <a:solidFill>
                  <a:srgbClr val="FFFFFF">
                    <a:lumMod val="65000"/>
                  </a:srgbClr>
                </a:solidFill>
                <a:latin typeface="Calibri" panose="020F0502020204030204"/>
              </a:rPr>
              <a:pPr>
                <a:defRPr/>
              </a:pPr>
              <a:t>‹#›</a:t>
            </a:fld>
            <a:endParaRPr lang="en-US" sz="1100" b="1">
              <a:solidFill>
                <a:srgbClr val="FFFFFF">
                  <a:lumMod val="65000"/>
                </a:srgbClr>
              </a:solidFill>
              <a:latin typeface="Calibri" panose="020F0502020204030204"/>
            </a:endParaRPr>
          </a:p>
        </p:txBody>
      </p:sp>
      <p:cxnSp>
        <p:nvCxnSpPr>
          <p:cNvPr id="6" name="Straight Connector 5">
            <a:extLst>
              <a:ext uri="{FF2B5EF4-FFF2-40B4-BE49-F238E27FC236}">
                <a16:creationId xmlns:a16="http://schemas.microsoft.com/office/drawing/2014/main" id="{3FA0890E-B783-49C8-905F-DA35F5BF5C5F}"/>
              </a:ext>
            </a:extLst>
          </p:cNvPr>
          <p:cNvCxnSpPr/>
          <p:nvPr userDrawn="1"/>
        </p:nvCxnSpPr>
        <p:spPr>
          <a:xfrm>
            <a:off x="473327" y="955857"/>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7" name="Triangle 6">
            <a:extLst>
              <a:ext uri="{FF2B5EF4-FFF2-40B4-BE49-F238E27FC236}">
                <a16:creationId xmlns:a16="http://schemas.microsoft.com/office/drawing/2014/main" id="{CAA0F2B8-1BF7-47E8-81F0-831107F81495}"/>
              </a:ext>
            </a:extLst>
          </p:cNvPr>
          <p:cNvSpPr/>
          <p:nvPr userDrawn="1"/>
        </p:nvSpPr>
        <p:spPr>
          <a:xfrm rot="16200000">
            <a:off x="8882225" y="-2130961"/>
            <a:ext cx="1201729" cy="5417820"/>
          </a:xfrm>
          <a:prstGeom prst="triangle">
            <a:avLst>
              <a:gd name="adj" fmla="val 100000"/>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674549"/>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hasCustomPrompt="1"/>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r>
              <a:rPr lang="en-US"/>
              <a:t>Available financing</a:t>
            </a:r>
            <a:endParaRPr lang="en-US" altLang="en-US"/>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hasCustomPrompt="1"/>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r>
              <a:rPr lang="en-US"/>
              <a:t>Target applicant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hasCustomPrompt="1"/>
          </p:nvPr>
        </p:nvSpPr>
        <p:spPr>
          <a:xfrm>
            <a:off x="8249966" y="2605961"/>
            <a:ext cx="3660095" cy="428974"/>
          </a:xfrm>
        </p:spPr>
        <p:txBody>
          <a:bodyPr/>
          <a:lstStyle>
            <a:lvl1pPr>
              <a:defRPr lang="en-US" sz="3200" kern="1200" smtClean="0">
                <a:solidFill>
                  <a:schemeClr val="tx1"/>
                </a:solidFill>
                <a:latin typeface="+mj-lt"/>
                <a:ea typeface="+mn-ea"/>
                <a:cs typeface="+mn-cs"/>
              </a:defRPr>
            </a:lvl1pPr>
          </a:lstStyle>
          <a:p>
            <a:r>
              <a:rPr lang="en-US" sz="3200">
                <a:latin typeface="+mj-lt"/>
              </a:rPr>
              <a:t>Why</a:t>
            </a:r>
          </a:p>
          <a:p>
            <a:endParaRPr lang="en-US" sz="3200">
              <a:latin typeface="+mj-lt"/>
            </a:endParaRP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0" name="Picture Placeholder 27">
            <a:extLst>
              <a:ext uri="{FF2B5EF4-FFF2-40B4-BE49-F238E27FC236}">
                <a16:creationId xmlns:a16="http://schemas.microsoft.com/office/drawing/2014/main" id="{B20D0FB2-DC5F-4F6D-A0E0-1A45EECDD989}"/>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360428910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681512" y="994533"/>
            <a:ext cx="0" cy="1090299"/>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691833" y="994533"/>
            <a:ext cx="274920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825737" y="994533"/>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928173887"/>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672831658"/>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38"/>
            <a:ext cx="7610856" cy="134556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932041594"/>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E5E7-1140-4466-AAF1-058AEF3737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05570A-0401-4602-91D4-F09998AF8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4205345748"/>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9DFA-9467-49C8-858C-EE3D2A12626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707D5A5-9E56-437E-8F6D-5C6CE1C5473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6F1A7F6-CD15-4859-9A28-E26ED9369EC0}"/>
              </a:ext>
            </a:extLst>
          </p:cNvPr>
          <p:cNvSpPr>
            <a:spLocks noGrp="1"/>
          </p:cNvSpPr>
          <p:nvPr>
            <p:ph type="sldNum" sz="quarter" idx="11"/>
          </p:nvPr>
        </p:nvSpPr>
        <p:spPr/>
        <p:txBody>
          <a:bodyPr/>
          <a:lstStyle/>
          <a:p>
            <a:fld id="{6358EE78-369A-4A83-91BE-CE1CDBA0BAF0}" type="slidenum">
              <a:rPr lang="en-US" smtClean="0"/>
              <a:pPr/>
              <a:t>‹#›</a:t>
            </a:fld>
            <a:endParaRPr lang="en-US"/>
          </a:p>
        </p:txBody>
      </p:sp>
    </p:spTree>
    <p:extLst>
      <p:ext uri="{BB962C8B-B14F-4D97-AF65-F5344CB8AC3E}">
        <p14:creationId xmlns:p14="http://schemas.microsoft.com/office/powerpoint/2010/main" val="3105383275"/>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428ED-58A8-4239-839E-E8D4EBDC8DE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CEC2F68-93A2-4DFA-82A4-9F2C27589B6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63D6105-ADB7-4961-AED5-CD3590221BB6}"/>
              </a:ext>
            </a:extLst>
          </p:cNvPr>
          <p:cNvSpPr>
            <a:spLocks noGrp="1"/>
          </p:cNvSpPr>
          <p:nvPr>
            <p:ph type="sldNum" sz="quarter" idx="11"/>
          </p:nvPr>
        </p:nvSpPr>
        <p:spPr/>
        <p:txBody>
          <a:bodyPr/>
          <a:lstStyle/>
          <a:p>
            <a:fld id="{6358EE78-369A-4A83-91BE-CE1CDBA0BAF0}" type="slidenum">
              <a:rPr lang="en-US" smtClean="0"/>
              <a:pPr/>
              <a:t>‹#›</a:t>
            </a:fld>
            <a:endParaRPr lang="en-US"/>
          </a:p>
        </p:txBody>
      </p:sp>
      <p:pic>
        <p:nvPicPr>
          <p:cNvPr id="6" name="Picture 5">
            <a:extLst>
              <a:ext uri="{FF2B5EF4-FFF2-40B4-BE49-F238E27FC236}">
                <a16:creationId xmlns:a16="http://schemas.microsoft.com/office/drawing/2014/main" id="{0DF6B9DF-A333-46E6-A0A9-DD70BADAA6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2667107610"/>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25ADA-DB87-46BF-9F2B-ADFC7FB782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B385C6-AEFE-4C91-8507-45DB27E678E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41BC11A7-5FC7-4224-B7F7-4EDF194101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3D908A-D469-4540-8CE9-5CE49F1B04D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479191373"/>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BA5B-F9E8-4378-AE89-CF12FE545F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9AC3F2-4ECF-490B-8CAD-C13F9EBC8F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C64517-A81A-4117-8C5F-F9B4F7E131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4A28098-9A8A-463E-9E6E-8CDC212AF3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BA7AA9-CE30-42E8-AE21-94F0E85638F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380603434"/>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C0D7B-B6BE-4E5A-9593-BDA42BA1D81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AAA538-8CB1-4E89-8225-EC4C14DE278C}"/>
              </a:ext>
            </a:extLst>
          </p:cNvPr>
          <p:cNvSpPr>
            <a:spLocks noGrp="1"/>
          </p:cNvSpPr>
          <p:nvPr>
            <p:ph type="body" idx="1" hasCustomPrompt="1"/>
          </p:nvPr>
        </p:nvSpPr>
        <p:spPr>
          <a:xfrm>
            <a:off x="839788" y="1681163"/>
            <a:ext cx="5157787" cy="82391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ADB797-2364-413B-BA77-071973AE55D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A04ED9-7AA6-4F16-B29C-75F8EDA329A0}"/>
              </a:ext>
            </a:extLst>
          </p:cNvPr>
          <p:cNvSpPr>
            <a:spLocks noGrp="1"/>
          </p:cNvSpPr>
          <p:nvPr>
            <p:ph type="body" sz="quarter" idx="3" hasCustomPrompt="1"/>
          </p:nvPr>
        </p:nvSpPr>
        <p:spPr>
          <a:xfrm>
            <a:off x="6172200" y="1681163"/>
            <a:ext cx="5183188" cy="82391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5833D1-4AD9-46CD-8E76-4E250D2C9D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93EF02C-0234-4E37-9924-D83E2377DE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1765FF-3ACD-42A3-92E7-C8BB71138E38}"/>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34671718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Landing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23756092"/>
              </p:ext>
            </p:extLst>
          </p:nvPr>
        </p:nvGraphicFramePr>
        <p:xfrm>
          <a:off x="2162" y="1622"/>
          <a:ext cx="2159" cy="162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2"/>
                        <a:ext cx="2159" cy="162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1"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7"/>
            <a:ext cx="401720"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711974"/>
            <a:ext cx="8478152"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4"/>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2390149" y="1023606"/>
            <a:ext cx="4554830" cy="470319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913844" y="6310039"/>
            <a:ext cx="1010736" cy="338370"/>
          </a:xfrm>
          <a:prstGeom prst="rect">
            <a:avLst/>
          </a:prstGeom>
        </p:spPr>
      </p:pic>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267215" y="2863652"/>
            <a:ext cx="2237991" cy="1130694"/>
          </a:xfrm>
        </p:spPr>
        <p:txBody>
          <a:bodyPr wrap="square" anchor="ctr">
            <a:spAutoFit/>
          </a:bodyPr>
          <a:lstStyle>
            <a:lvl1pPr>
              <a:defRPr sz="3265"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227405445"/>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84340586"/>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5456E-15BD-4E95-BF74-A57EB11CE4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B00973-9414-4195-AFFA-FDF3C5ED56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4E100E-64B7-4154-9E98-5055506FAA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9D7031C6-8040-4518-AA08-9C8B25CBF9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8A73A-FCC1-4DD0-A99F-031D84582DC9}"/>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045992674"/>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7F400-F817-4752-8358-DA3E821F84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A055F7-C12F-43AE-9EDE-B31664369C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0690BB4-AC10-46DC-8560-B6569A27ED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C377BF9F-CAEB-40D4-9F5B-7376D5E08D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E5658A-246E-4483-AEAE-E16FEAFCD93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681313359"/>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70F12-9160-4CDF-9D28-FC10410068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DA7DE91-3152-44C6-9E93-BB0C12651A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4FF1BB-E49E-4B80-B6DB-2B95C8AF1B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E996A1-DD61-4016-AE82-64B1045617E6}"/>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1580779209"/>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A690CA-CFC4-48A9-97D4-75874123FD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7EE303-2C17-4DB5-BE5D-88DC7642685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317C69-5AF4-4521-9402-A3C85E0089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A83E35-FFFB-4755-A26A-2816BB6E9C61}"/>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580101928"/>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3">
            <a:extLst>
              <a:ext uri="{FF2B5EF4-FFF2-40B4-BE49-F238E27FC236}">
                <a16:creationId xmlns:a16="http://schemas.microsoft.com/office/drawing/2014/main" id="{1DBB3EA4-6323-2C48-983C-11D4FA942BC5}"/>
              </a:ext>
            </a:extLst>
          </p:cNvPr>
          <p:cNvSpPr/>
          <p:nvPr userDrawn="1"/>
        </p:nvSpPr>
        <p:spPr>
          <a:xfrm rot="16200000">
            <a:off x="3140589" y="2398468"/>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9">
            <a:extLst>
              <a:ext uri="{FF2B5EF4-FFF2-40B4-BE49-F238E27FC236}">
                <a16:creationId xmlns:a16="http://schemas.microsoft.com/office/drawing/2014/main" id="{51CB258D-E52B-0641-BB93-DE3C11B272B5}"/>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923923"/>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Add a photo to the bottom green triangle here</a:t>
            </a:r>
          </a:p>
        </p:txBody>
      </p:sp>
      <p:sp>
        <p:nvSpPr>
          <p:cNvPr id="4" name="Triangle 3">
            <a:extLst>
              <a:ext uri="{FF2B5EF4-FFF2-40B4-BE49-F238E27FC236}">
                <a16:creationId xmlns:a16="http://schemas.microsoft.com/office/drawing/2014/main" id="{F5E6F0E6-329E-504D-BE1D-490C7D9DDDA9}"/>
              </a:ext>
            </a:extLst>
          </p:cNvPr>
          <p:cNvSpPr/>
          <p:nvPr userDrawn="1"/>
        </p:nvSpPr>
        <p:spPr>
          <a:xfrm rot="5400000">
            <a:off x="7732466"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a:extLst>
              <a:ext uri="{FF2B5EF4-FFF2-40B4-BE49-F238E27FC236}">
                <a16:creationId xmlns:a16="http://schemas.microsoft.com/office/drawing/2014/main" id="{99E79421-32C7-F54A-8BEE-55B861998C85}"/>
              </a:ext>
            </a:extLst>
          </p:cNvPr>
          <p:cNvSpPr>
            <a:spLocks noGrp="1"/>
          </p:cNvSpPr>
          <p:nvPr>
            <p:ph type="pic" sz="quarter" idx="10"/>
          </p:nvPr>
        </p:nvSpPr>
        <p:spPr>
          <a:xfrm>
            <a:off x="-13447" y="5539056"/>
            <a:ext cx="7639878" cy="1318944"/>
          </a:xfrm>
          <a:prstGeom prst="rtTriangle">
            <a:avLst/>
          </a:prstGeom>
          <a:solidFill>
            <a:schemeClr val="accent2"/>
          </a:solidFill>
        </p:spPr>
        <p:txBody>
          <a:bodyPr/>
          <a:lstStyle/>
          <a:p>
            <a:endParaRPr lang="en-US"/>
          </a:p>
        </p:txBody>
      </p:sp>
      <p:sp>
        <p:nvSpPr>
          <p:cNvPr id="7" name="Text Placeholder 29">
            <a:extLst>
              <a:ext uri="{FF2B5EF4-FFF2-40B4-BE49-F238E27FC236}">
                <a16:creationId xmlns:a16="http://schemas.microsoft.com/office/drawing/2014/main" id="{5A22196A-4B76-644B-917B-85AA0E9A71F1}"/>
              </a:ext>
            </a:extLst>
          </p:cNvPr>
          <p:cNvSpPr>
            <a:spLocks noGrp="1"/>
          </p:cNvSpPr>
          <p:nvPr>
            <p:ph type="body" sz="quarter" idx="13"/>
          </p:nvPr>
        </p:nvSpPr>
        <p:spPr>
          <a:xfrm>
            <a:off x="564163" y="1829861"/>
            <a:ext cx="11039258" cy="2607145"/>
          </a:xfrm>
          <a:prstGeom prst="rect">
            <a:avLst/>
          </a:prstGeom>
        </p:spPr>
        <p:txBody>
          <a:bodyPr>
            <a:normAutofit/>
          </a:bodyPr>
          <a:lstStyle>
            <a:lvl1pPr algn="l">
              <a:defRPr sz="2400">
                <a:solidFill>
                  <a:schemeClr val="accent6">
                    <a:lumMod val="85000"/>
                    <a:lumOff val="15000"/>
                  </a:schemeClr>
                </a:solidFill>
              </a:defRPr>
            </a:lvl1pPr>
            <a:lvl2pPr marL="193655" indent="-192067" algn="l">
              <a:buClr>
                <a:schemeClr val="accent2"/>
              </a:buClr>
              <a:buFont typeface=".Lucida Grande UI Regular"/>
              <a:buChar char="►"/>
              <a:defRPr sz="2000">
                <a:solidFill>
                  <a:schemeClr val="accent6">
                    <a:lumMod val="85000"/>
                    <a:lumOff val="15000"/>
                  </a:schemeClr>
                </a:solidFill>
              </a:defRPr>
            </a:lvl2pPr>
            <a:lvl3pPr marL="457152" indent="-261910" algn="l">
              <a:buClr>
                <a:schemeClr val="accent2"/>
              </a:buClr>
              <a:buFont typeface="Arial" panose="020B0604020202020204" pitchFamily="34" charset="0"/>
              <a:buChar char="•"/>
              <a:defRPr sz="2000">
                <a:solidFill>
                  <a:schemeClr val="accent6">
                    <a:lumMod val="85000"/>
                    <a:lumOff val="15000"/>
                  </a:schemeClr>
                </a:solidFill>
              </a:defRPr>
            </a:lvl3pPr>
            <a:lvl4pPr marL="614298" indent="-155559"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594692"/>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93065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Landing Slide">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46975934"/>
              </p:ext>
            </p:extLst>
          </p:nvPr>
        </p:nvGraphicFramePr>
        <p:xfrm>
          <a:off x="2162" y="1622"/>
          <a:ext cx="2159" cy="162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2"/>
                        <a:ext cx="2159" cy="162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userDrawn="1">
            <p:custDataLst>
              <p:tags r:id="rId2"/>
            </p:custDataLst>
          </p:nvPr>
        </p:nvSpPr>
        <p:spPr>
          <a:xfrm>
            <a:off x="1"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userDrawn="1"/>
        </p:nvSpPr>
        <p:spPr bwMode="auto">
          <a:xfrm>
            <a:off x="11487911" y="37257"/>
            <a:ext cx="401720"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userDrawn="1"/>
        </p:nvSpPr>
        <p:spPr bwMode="gray">
          <a:xfrm>
            <a:off x="3085967" y="3711974"/>
            <a:ext cx="8478152"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userDrawn="1"/>
        </p:nvSpPr>
        <p:spPr bwMode="black">
          <a:xfrm>
            <a:off x="2837961" y="6381114"/>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5" name="Right Triangle 14">
            <a:extLst>
              <a:ext uri="{FF2B5EF4-FFF2-40B4-BE49-F238E27FC236}">
                <a16:creationId xmlns:a16="http://schemas.microsoft.com/office/drawing/2014/main" id="{3BA80537-E1FD-43A7-B1F7-B96B274FF2EA}"/>
              </a:ext>
            </a:extLst>
          </p:cNvPr>
          <p:cNvSpPr/>
          <p:nvPr userDrawn="1"/>
        </p:nvSpPr>
        <p:spPr>
          <a:xfrm rot="13500000">
            <a:off x="-2390149" y="1023606"/>
            <a:ext cx="4554830" cy="470319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10913844" y="6310039"/>
            <a:ext cx="1010736" cy="338370"/>
          </a:xfrm>
          <a:prstGeom prst="rect">
            <a:avLst/>
          </a:prstGeom>
        </p:spPr>
      </p:pic>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267215" y="2863652"/>
            <a:ext cx="2237991" cy="1130694"/>
          </a:xfrm>
        </p:spPr>
        <p:txBody>
          <a:bodyPr wrap="square" anchor="ctr">
            <a:spAutoFit/>
          </a:bodyPr>
          <a:lstStyle>
            <a:lvl1pPr>
              <a:defRPr sz="3265"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9072646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20323266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6EE6F3F-63EB-5C0E-2307-3B7CBBA1C374}"/>
              </a:ext>
            </a:extLst>
          </p:cNvPr>
          <p:cNvSpPr>
            <a:spLocks noGrp="1"/>
          </p:cNvSpPr>
          <p:nvPr>
            <p:ph type="pic" sz="quarter" idx="11"/>
          </p:nvPr>
        </p:nvSpPr>
        <p:spPr>
          <a:xfrm>
            <a:off x="0" y="0"/>
            <a:ext cx="12192000" cy="6858000"/>
          </a:xfrm>
          <a:solidFill>
            <a:schemeClr val="tx1"/>
          </a:solidFill>
        </p:spPr>
        <p:txBody>
          <a:bodyPr>
            <a:normAutofit/>
          </a:bodyPr>
          <a:lstStyle>
            <a:lvl1pPr marL="0" indent="0" algn="ctr">
              <a:buNone/>
              <a:defRPr sz="20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F657BD59-35CC-9BB3-8621-6FA3356F81AA}"/>
              </a:ext>
            </a:extLst>
          </p:cNvPr>
          <p:cNvSpPr>
            <a:spLocks noGrp="1"/>
          </p:cNvSpPr>
          <p:nvPr>
            <p:ph type="title" hasCustomPrompt="1"/>
          </p:nvPr>
        </p:nvSpPr>
        <p:spPr>
          <a:xfrm>
            <a:off x="1362437" y="400485"/>
            <a:ext cx="9467127" cy="2527911"/>
          </a:xfrm>
        </p:spPr>
        <p:txBody>
          <a:bodyPr anchor="b">
            <a:noAutofit/>
          </a:bodyPr>
          <a:lstStyle>
            <a:lvl1pPr algn="ctr">
              <a:spcBef>
                <a:spcPts val="1000"/>
              </a:spcBef>
              <a:defRPr>
                <a:solidFill>
                  <a:schemeClr val="bg1"/>
                </a:solidFill>
              </a:defRPr>
            </a:lvl1pPr>
          </a:lstStyle>
          <a:p>
            <a:r>
              <a:rPr lang="en-US"/>
              <a:t>Click to add title</a:t>
            </a:r>
          </a:p>
        </p:txBody>
      </p:sp>
      <p:sp>
        <p:nvSpPr>
          <p:cNvPr id="10" name="Text Placeholder 9">
            <a:extLst>
              <a:ext uri="{FF2B5EF4-FFF2-40B4-BE49-F238E27FC236}">
                <a16:creationId xmlns:a16="http://schemas.microsoft.com/office/drawing/2014/main" id="{E12DA517-30B0-BC62-0422-F995FB9189E2}"/>
              </a:ext>
            </a:extLst>
          </p:cNvPr>
          <p:cNvSpPr>
            <a:spLocks noGrp="1"/>
          </p:cNvSpPr>
          <p:nvPr>
            <p:ph type="body" sz="quarter" idx="10" hasCustomPrompt="1"/>
          </p:nvPr>
        </p:nvSpPr>
        <p:spPr>
          <a:xfrm>
            <a:off x="1362075" y="3738622"/>
            <a:ext cx="9467850" cy="2527911"/>
          </a:xfrm>
        </p:spPr>
        <p:txBody>
          <a:bodyPr>
            <a:normAutofit/>
          </a:bodyPr>
          <a:lstStyle>
            <a:lvl1pPr marL="0" indent="0" algn="ctr">
              <a:spcBef>
                <a:spcPts val="1000"/>
              </a:spcBef>
              <a:buNone/>
              <a:defRPr sz="1800">
                <a:solidFill>
                  <a:schemeClr val="bg1"/>
                </a:solidFill>
              </a:defRPr>
            </a:lvl1pPr>
            <a:lvl2pPr marL="457200" indent="0" algn="ctr">
              <a:spcBef>
                <a:spcPts val="1000"/>
              </a:spcBef>
              <a:buNone/>
              <a:defRPr sz="1800">
                <a:solidFill>
                  <a:schemeClr val="bg1"/>
                </a:solidFill>
              </a:defRPr>
            </a:lvl2pPr>
            <a:lvl3pPr marL="914400" indent="0" algn="ctr">
              <a:spcBef>
                <a:spcPts val="1000"/>
              </a:spcBef>
              <a:buNone/>
              <a:defRPr sz="1800">
                <a:solidFill>
                  <a:schemeClr val="bg1"/>
                </a:solidFill>
              </a:defRPr>
            </a:lvl3pPr>
            <a:lvl4pPr marL="1371600" indent="0" algn="ctr">
              <a:spcBef>
                <a:spcPts val="1000"/>
              </a:spcBef>
              <a:buNone/>
              <a:defRPr sz="1800">
                <a:solidFill>
                  <a:schemeClr val="bg1"/>
                </a:solidFill>
              </a:defRPr>
            </a:lvl4pPr>
            <a:lvl5pPr marL="1828800" indent="0" algn="ctr">
              <a:spcBef>
                <a:spcPts val="1000"/>
              </a:spcBef>
              <a:buNone/>
              <a:defRPr sz="1800">
                <a:solidFill>
                  <a:schemeClr val="bg1"/>
                </a:solidFill>
              </a:defRPr>
            </a:lvl5pPr>
          </a:lstStyle>
          <a:p>
            <a:pPr lvl="0"/>
            <a:r>
              <a:rPr lang="en-US"/>
              <a:t>Click to add text</a:t>
            </a:r>
          </a:p>
        </p:txBody>
      </p:sp>
    </p:spTree>
    <p:extLst>
      <p:ext uri="{BB962C8B-B14F-4D97-AF65-F5344CB8AC3E}">
        <p14:creationId xmlns:p14="http://schemas.microsoft.com/office/powerpoint/2010/main" val="14370727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38"/>
            <a:ext cx="7610856" cy="134556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2420790857"/>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76978709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theme" Target="../theme/theme2.xml"/><Relationship Id="rId21" Type="http://schemas.openxmlformats.org/officeDocument/2006/relationships/tags" Target="../tags/tag18.xml"/><Relationship Id="rId34" Type="http://schemas.openxmlformats.org/officeDocument/2006/relationships/image" Target="../media/image2.emf"/><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oleObject" Target="../embeddings/oleObject1.bin"/><Relationship Id="rId2" Type="http://schemas.openxmlformats.org/officeDocument/2006/relationships/slideLayout" Target="../slideLayouts/slideLayout5.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4.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8"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heme" Target="../theme/theme3.xml"/><Relationship Id="rId21" Type="http://schemas.openxmlformats.org/officeDocument/2006/relationships/tags" Target="../tags/tag51.xml"/><Relationship Id="rId34" Type="http://schemas.openxmlformats.org/officeDocument/2006/relationships/image" Target="../media/image2.emf"/><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oleObject" Target="../embeddings/oleObject4.bin"/><Relationship Id="rId2" Type="http://schemas.openxmlformats.org/officeDocument/2006/relationships/slideLayout" Target="../slideLayouts/slideLayout7.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slideLayout" Target="../slideLayouts/slideLayout6.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8" Type="http://schemas.openxmlformats.org/officeDocument/2006/relationships/tags" Target="../tags/tag3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theme" Target="../theme/theme5.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image" Target="../media/image1.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6E698-9DA9-4100-924C-B7DA5FAD98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98E278-6E53-45E6-A8D1-8227538C9A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12F18-AE8A-4A26-8F2B-586FCD374B16}"/>
              </a:ext>
            </a:extLst>
          </p:cNvPr>
          <p:cNvSpPr>
            <a:spLocks noGrp="1"/>
          </p:cNvSpPr>
          <p:nvPr>
            <p:ph type="ftr" sz="quarter" idx="3"/>
          </p:nvPr>
        </p:nvSpPr>
        <p:spPr>
          <a:xfrm>
            <a:off x="838200" y="6356349"/>
            <a:ext cx="4114800" cy="365125"/>
          </a:xfrm>
          <a:prstGeom prst="rect">
            <a:avLst/>
          </a:prstGeom>
        </p:spPr>
        <p:txBody>
          <a:bodyPr vert="horz" lIns="91440" tIns="45720" rIns="91440" bIns="45720" rtlCol="0" anchor="ctr"/>
          <a:lstStyle>
            <a:lvl1pPr algn="l">
              <a:defRPr sz="900">
                <a:solidFill>
                  <a:schemeClr val="bg1">
                    <a:lumMod val="65000"/>
                  </a:schemeClr>
                </a:solidFill>
              </a:defRPr>
            </a:lvl1pPr>
          </a:lstStyle>
          <a:p>
            <a:endParaRPr lang="en-US"/>
          </a:p>
        </p:txBody>
      </p:sp>
      <p:sp>
        <p:nvSpPr>
          <p:cNvPr id="6" name="Slide Number Placeholder 5">
            <a:extLst>
              <a:ext uri="{FF2B5EF4-FFF2-40B4-BE49-F238E27FC236}">
                <a16:creationId xmlns:a16="http://schemas.microsoft.com/office/drawing/2014/main" id="{06A9C5BF-5F43-48E4-83B6-0D8F9A3FE8D5}"/>
              </a:ext>
            </a:extLst>
          </p:cNvPr>
          <p:cNvSpPr>
            <a:spLocks noGrp="1"/>
          </p:cNvSpPr>
          <p:nvPr>
            <p:ph type="sldNum" sz="quarter" idx="4"/>
          </p:nvPr>
        </p:nvSpPr>
        <p:spPr>
          <a:xfrm>
            <a:off x="10104120" y="6356350"/>
            <a:ext cx="2028008" cy="365125"/>
          </a:xfrm>
          <a:prstGeom prst="rect">
            <a:avLst/>
          </a:prstGeom>
        </p:spPr>
        <p:txBody>
          <a:bodyPr vert="horz" lIns="91440" tIns="45720" rIns="91440" bIns="45720" rtlCol="0" anchor="ctr"/>
          <a:lstStyle>
            <a:lvl1pPr algn="r">
              <a:defRPr sz="900">
                <a:solidFill>
                  <a:schemeClr val="bg1">
                    <a:lumMod val="65000"/>
                  </a:schemeClr>
                </a:solidFill>
              </a:defRPr>
            </a:lvl1pPr>
          </a:lstStyle>
          <a:p>
            <a:fld id="{6358EE78-369A-4A83-91BE-CE1CDBA0BAF0}" type="slidenum">
              <a:rPr lang="en-US" smtClean="0"/>
              <a:pPr/>
              <a:t>‹#›</a:t>
            </a:fld>
            <a:endParaRPr lang="en-US"/>
          </a:p>
        </p:txBody>
      </p:sp>
      <p:pic>
        <p:nvPicPr>
          <p:cNvPr id="8" name="Picture 7">
            <a:extLst>
              <a:ext uri="{FF2B5EF4-FFF2-40B4-BE49-F238E27FC236}">
                <a16:creationId xmlns:a16="http://schemas.microsoft.com/office/drawing/2014/main" id="{89AE6CB7-C307-4D25-8AC6-46FC3C0A059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425248" y="5897880"/>
            <a:ext cx="1430383" cy="960120"/>
          </a:xfrm>
          <a:prstGeom prst="rect">
            <a:avLst/>
          </a:prstGeom>
        </p:spPr>
      </p:pic>
    </p:spTree>
    <p:extLst>
      <p:ext uri="{BB962C8B-B14F-4D97-AF65-F5344CB8AC3E}">
        <p14:creationId xmlns:p14="http://schemas.microsoft.com/office/powerpoint/2010/main" val="1859813941"/>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757" r:id="rId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258022601"/>
              </p:ex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1" y="0"/>
                        <a:ext cx="215979" cy="161974"/>
                      </a:xfrm>
                      <a:prstGeom prst="rect">
                        <a:avLst/>
                      </a:prstGeom>
                    </p:spPr>
                  </p:pic>
                </p:oleObj>
              </mc:Fallback>
            </mc:AlternateContent>
          </a:graphicData>
        </a:graphic>
      </p:graphicFrame>
      <p:sp>
        <p:nvSpPr>
          <p:cNvPr id="6" name="Rectangle 5" hidden="1"/>
          <p:cNvSpPr/>
          <p:nvPr>
            <p:custDataLst>
              <p:tags r:id="rId5"/>
            </p:custDataLst>
          </p:nvPr>
        </p:nvSpPr>
        <p:spPr bwMode="auto">
          <a:xfrm>
            <a:off x="1"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1"/>
            <a:ext cx="11725484" cy="31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5"/>
            <a:ext cx="49051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3"/>
            <a:ext cx="117254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7" y="6343327"/>
            <a:ext cx="9821651" cy="126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7" y="6639742"/>
            <a:ext cx="9821651" cy="126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sp>
        <p:nvSpPr>
          <p:cNvPr id="3" name="Text Placeholder 2"/>
          <p:cNvSpPr>
            <a:spLocks noGrp="1"/>
          </p:cNvSpPr>
          <p:nvPr>
            <p:ph type="body" idx="1"/>
          </p:nvPr>
        </p:nvSpPr>
        <p:spPr bwMode="gray">
          <a:xfrm>
            <a:off x="2729246" y="2606570"/>
            <a:ext cx="5853024" cy="1098699"/>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906953"/>
            <a:ext cx="5801188" cy="510218"/>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14164" y="291558"/>
            <a:ext cx="473335" cy="150811"/>
            <a:chOff x="8392862" y="285750"/>
            <a:chExt cx="347913" cy="147809"/>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92862" y="285750"/>
              <a:ext cx="34791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2862" y="285750"/>
              <a:ext cx="0" cy="147809"/>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2862" y="433559"/>
              <a:ext cx="3479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63" y="277887"/>
            <a:ext cx="1360882" cy="772636"/>
            <a:chOff x="7607284" y="279400"/>
            <a:chExt cx="1000284" cy="75725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0"/>
              </p:custDataLst>
            </p:nvPr>
          </p:nvSpPr>
          <p:spPr bwMode="gray">
            <a:xfrm>
              <a:off x="8169259" y="279400"/>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1"/>
              </p:custDataLst>
            </p:nvPr>
          </p:nvSpPr>
          <p:spPr bwMode="gray">
            <a:xfrm>
              <a:off x="8169259" y="546100"/>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2"/>
              </p:custDataLst>
            </p:nvPr>
          </p:nvSpPr>
          <p:spPr bwMode="gray">
            <a:xfrm>
              <a:off x="8169259" y="825500"/>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7" y="277994"/>
            <a:ext cx="941883" cy="1044753"/>
            <a:chOff x="5894005" y="919828"/>
            <a:chExt cx="692308" cy="102395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6"/>
              </p:custDataLst>
            </p:nvPr>
          </p:nvSpPr>
          <p:spPr bwMode="gray">
            <a:xfrm>
              <a:off x="6148005" y="919828"/>
              <a:ext cx="438308"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7"/>
              </p:custDataLst>
            </p:nvPr>
          </p:nvSpPr>
          <p:spPr bwMode="gray">
            <a:xfrm>
              <a:off x="6148005" y="1189704"/>
              <a:ext cx="438308"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8"/>
              </p:custDataLst>
            </p:nvPr>
          </p:nvSpPr>
          <p:spPr bwMode="gray">
            <a:xfrm>
              <a:off x="6148005" y="1461167"/>
              <a:ext cx="438308"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29"/>
              </p:custDataLst>
            </p:nvPr>
          </p:nvSpPr>
          <p:spPr bwMode="gray">
            <a:xfrm>
              <a:off x="6148005" y="1732628"/>
              <a:ext cx="438308"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9" y="277477"/>
            <a:ext cx="1032595" cy="1340749"/>
            <a:chOff x="5894005" y="2695123"/>
            <a:chExt cx="758984" cy="1314057"/>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6"/>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4"/>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7"/>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2"/>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3"/>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8"/>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0"/>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1"/>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9"/>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8"/>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19"/>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0"/>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6"/>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7"/>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1"/>
              </p:custDataLst>
            </p:nvPr>
          </p:nvSpPr>
          <p:spPr bwMode="gray">
            <a:xfrm>
              <a:off x="6214680" y="2696543"/>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2"/>
              </p:custDataLst>
            </p:nvPr>
          </p:nvSpPr>
          <p:spPr bwMode="gray">
            <a:xfrm>
              <a:off x="6214680" y="2974155"/>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3"/>
              </p:custDataLst>
            </p:nvPr>
          </p:nvSpPr>
          <p:spPr bwMode="gray">
            <a:xfrm>
              <a:off x="6214680" y="3248597"/>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4"/>
              </p:custDataLst>
            </p:nvPr>
          </p:nvSpPr>
          <p:spPr bwMode="gray">
            <a:xfrm>
              <a:off x="6214680" y="3521448"/>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5"/>
              </p:custDataLst>
            </p:nvPr>
          </p:nvSpPr>
          <p:spPr bwMode="gray">
            <a:xfrm>
              <a:off x="6214680" y="3796681"/>
              <a:ext cx="438309"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949367" y="2193"/>
            <a:ext cx="2951577" cy="150811"/>
            <a:chOff x="6523917" y="285750"/>
            <a:chExt cx="2213683" cy="150810"/>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523917" y="285750"/>
              <a:ext cx="2213683" cy="1508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23917" y="285750"/>
              <a:ext cx="0" cy="15081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23917" y="436560"/>
              <a:ext cx="221368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2438" y="6657109"/>
            <a:ext cx="125034" cy="92333"/>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316865572"/>
      </p:ext>
    </p:extLst>
  </p:cSld>
  <p:clrMap bg1="lt1" tx1="dk1" bg2="lt2" tx2="dk2" accent1="accent1" accent2="accent2" accent3="accent3" accent4="accent4" accent5="accent5" accent6="accent6" hlink="hlink" folHlink="folHlink"/>
  <p:sldLayoutIdLst>
    <p:sldLayoutId id="2147483705" r:id="rId1"/>
    <p:sldLayoutId id="2147483706" r:id="rId2"/>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165394769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0"/>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88" y="669802"/>
            <a:ext cx="117254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mn-lt"/>
                <a:ea typeface="+mn-ea"/>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mn-lt"/>
                <a:ea typeface="+mn-ea"/>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0"/>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1"/>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2"/>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6"/>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7"/>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28"/>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29"/>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6"/>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4"/>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7"/>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2"/>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3"/>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8"/>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0"/>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1"/>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9"/>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18"/>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19"/>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0"/>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6"/>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7"/>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1"/>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2"/>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3"/>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4"/>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5"/>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707082396"/>
      </p:ext>
    </p:extLst>
  </p:cSld>
  <p:clrMap bg1="lt1" tx1="dk1" bg2="lt2" tx2="dk2" accent1="accent1" accent2="accent2" accent3="accent3" accent4="accent4" accent5="accent5" accent6="accent6" hlink="hlink" folHlink="folHlink"/>
  <p:sldLayoutIdLst>
    <p:sldLayoutId id="2147483717" r:id="rId1"/>
    <p:sldLayoutId id="2147483758" r:id="rId2"/>
  </p:sldLayoutIdLst>
  <p:hf sldNum="0"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6E698-9DA9-4100-924C-B7DA5FAD98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98E278-6E53-45E6-A8D1-8227538C9A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12F18-AE8A-4A26-8F2B-586FCD374B16}"/>
              </a:ext>
            </a:extLst>
          </p:cNvPr>
          <p:cNvSpPr>
            <a:spLocks noGrp="1"/>
          </p:cNvSpPr>
          <p:nvPr>
            <p:ph type="ftr" sz="quarter" idx="3"/>
          </p:nvPr>
        </p:nvSpPr>
        <p:spPr>
          <a:xfrm>
            <a:off x="838200" y="6356349"/>
            <a:ext cx="4114800" cy="365125"/>
          </a:xfrm>
          <a:prstGeom prst="rect">
            <a:avLst/>
          </a:prstGeom>
        </p:spPr>
        <p:txBody>
          <a:bodyPr vert="horz" lIns="91440" tIns="45720" rIns="91440" bIns="45720" rtlCol="0" anchor="ctr"/>
          <a:lstStyle>
            <a:lvl1pPr algn="l">
              <a:defRPr sz="900">
                <a:solidFill>
                  <a:schemeClr val="bg1">
                    <a:lumMod val="65000"/>
                  </a:schemeClr>
                </a:solidFill>
              </a:defRPr>
            </a:lvl1pPr>
          </a:lstStyle>
          <a:p>
            <a:endParaRPr lang="en-US"/>
          </a:p>
        </p:txBody>
      </p:sp>
      <p:sp>
        <p:nvSpPr>
          <p:cNvPr id="6" name="Slide Number Placeholder 5">
            <a:extLst>
              <a:ext uri="{FF2B5EF4-FFF2-40B4-BE49-F238E27FC236}">
                <a16:creationId xmlns:a16="http://schemas.microsoft.com/office/drawing/2014/main" id="{06A9C5BF-5F43-48E4-83B6-0D8F9A3FE8D5}"/>
              </a:ext>
            </a:extLst>
          </p:cNvPr>
          <p:cNvSpPr>
            <a:spLocks noGrp="1"/>
          </p:cNvSpPr>
          <p:nvPr>
            <p:ph type="sldNum" sz="quarter" idx="4"/>
          </p:nvPr>
        </p:nvSpPr>
        <p:spPr>
          <a:xfrm>
            <a:off x="10104120" y="6356350"/>
            <a:ext cx="2028008" cy="365125"/>
          </a:xfrm>
          <a:prstGeom prst="rect">
            <a:avLst/>
          </a:prstGeom>
        </p:spPr>
        <p:txBody>
          <a:bodyPr vert="horz" lIns="91440" tIns="45720" rIns="91440" bIns="45720" rtlCol="0" anchor="ctr"/>
          <a:lstStyle>
            <a:lvl1pPr algn="r">
              <a:defRPr sz="900">
                <a:solidFill>
                  <a:schemeClr val="bg1">
                    <a:lumMod val="65000"/>
                  </a:schemeClr>
                </a:solidFill>
              </a:defRPr>
            </a:lvl1pPr>
          </a:lstStyle>
          <a:p>
            <a:fld id="{6358EE78-369A-4A83-91BE-CE1CDBA0BAF0}" type="slidenum">
              <a:rPr lang="en-US" smtClean="0"/>
              <a:pPr/>
              <a:t>‹#›</a:t>
            </a:fld>
            <a:endParaRPr lang="en-US"/>
          </a:p>
        </p:txBody>
      </p:sp>
      <p:pic>
        <p:nvPicPr>
          <p:cNvPr id="8" name="Picture 7">
            <a:extLst>
              <a:ext uri="{FF2B5EF4-FFF2-40B4-BE49-F238E27FC236}">
                <a16:creationId xmlns:a16="http://schemas.microsoft.com/office/drawing/2014/main" id="{89AE6CB7-C307-4D25-8AC6-46FC3C0A059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5248" y="5897880"/>
            <a:ext cx="1430383" cy="960120"/>
          </a:xfrm>
          <a:prstGeom prst="rect">
            <a:avLst/>
          </a:prstGeom>
        </p:spPr>
      </p:pic>
    </p:spTree>
    <p:extLst>
      <p:ext uri="{BB962C8B-B14F-4D97-AF65-F5344CB8AC3E}">
        <p14:creationId xmlns:p14="http://schemas.microsoft.com/office/powerpoint/2010/main" val="1859813941"/>
      </p:ext>
    </p:extLst>
  </p:cSld>
  <p:clrMap bg1="lt1" tx1="dk1" bg2="lt2" tx2="dk2" accent1="accent1" accent2="accent2" accent3="accent3" accent4="accent4" accent5="accent5" accent6="accent6" hlink="hlink" folHlink="folHlink"/>
  <p:sldLayoutIdLst>
    <p:sldLayoutId id="2147483760" r:id="rId1"/>
    <p:sldLayoutId id="2147483761"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6E698-9DA9-4100-924C-B7DA5FAD98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98E278-6E53-45E6-A8D1-8227538C9A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12F18-AE8A-4A26-8F2B-586FCD374B16}"/>
              </a:ext>
            </a:extLst>
          </p:cNvPr>
          <p:cNvSpPr>
            <a:spLocks noGrp="1"/>
          </p:cNvSpPr>
          <p:nvPr>
            <p:ph type="ftr" sz="quarter" idx="3"/>
          </p:nvPr>
        </p:nvSpPr>
        <p:spPr>
          <a:xfrm>
            <a:off x="838200" y="6356349"/>
            <a:ext cx="4114800" cy="365125"/>
          </a:xfrm>
          <a:prstGeom prst="rect">
            <a:avLst/>
          </a:prstGeom>
        </p:spPr>
        <p:txBody>
          <a:bodyPr vert="horz" lIns="91440" tIns="45720" rIns="91440" bIns="45720" rtlCol="0" anchor="ctr"/>
          <a:lstStyle>
            <a:lvl1pPr algn="l">
              <a:defRPr sz="900">
                <a:solidFill>
                  <a:schemeClr val="bg1">
                    <a:lumMod val="65000"/>
                  </a:schemeClr>
                </a:solidFill>
              </a:defRPr>
            </a:lvl1pPr>
          </a:lstStyle>
          <a:p>
            <a:endParaRPr lang="en-US"/>
          </a:p>
        </p:txBody>
      </p:sp>
      <p:sp>
        <p:nvSpPr>
          <p:cNvPr id="6" name="Slide Number Placeholder 5">
            <a:extLst>
              <a:ext uri="{FF2B5EF4-FFF2-40B4-BE49-F238E27FC236}">
                <a16:creationId xmlns:a16="http://schemas.microsoft.com/office/drawing/2014/main" id="{06A9C5BF-5F43-48E4-83B6-0D8F9A3FE8D5}"/>
              </a:ext>
            </a:extLst>
          </p:cNvPr>
          <p:cNvSpPr>
            <a:spLocks noGrp="1"/>
          </p:cNvSpPr>
          <p:nvPr>
            <p:ph type="sldNum" sz="quarter" idx="4"/>
          </p:nvPr>
        </p:nvSpPr>
        <p:spPr>
          <a:xfrm>
            <a:off x="10163992" y="6404701"/>
            <a:ext cx="2028008" cy="365125"/>
          </a:xfrm>
          <a:prstGeom prst="rect">
            <a:avLst/>
          </a:prstGeom>
        </p:spPr>
        <p:txBody>
          <a:bodyPr vert="horz" lIns="91440" tIns="45720" rIns="91440" bIns="45720" rtlCol="0" anchor="ctr"/>
          <a:lstStyle>
            <a:lvl1pPr algn="r">
              <a:defRPr sz="900">
                <a:solidFill>
                  <a:schemeClr val="accent6">
                    <a:lumMod val="85000"/>
                    <a:lumOff val="15000"/>
                  </a:schemeClr>
                </a:solidFill>
              </a:defRPr>
            </a:lvl1pPr>
          </a:lstStyle>
          <a:p>
            <a:fld id="{6358EE78-369A-4A83-91BE-CE1CDBA0BAF0}" type="slidenum">
              <a:rPr lang="en-US" smtClean="0"/>
              <a:pPr/>
              <a:t>‹#›</a:t>
            </a:fld>
            <a:endParaRPr lang="en-US"/>
          </a:p>
        </p:txBody>
      </p:sp>
      <p:pic>
        <p:nvPicPr>
          <p:cNvPr id="8" name="Picture 7">
            <a:extLst>
              <a:ext uri="{FF2B5EF4-FFF2-40B4-BE49-F238E27FC236}">
                <a16:creationId xmlns:a16="http://schemas.microsoft.com/office/drawing/2014/main" id="{89AE6CB7-C307-4D25-8AC6-46FC3C0A0595}"/>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10269165" y="5897880"/>
            <a:ext cx="1430383" cy="960120"/>
          </a:xfrm>
          <a:prstGeom prst="rect">
            <a:avLst/>
          </a:prstGeom>
        </p:spPr>
      </p:pic>
    </p:spTree>
    <p:extLst>
      <p:ext uri="{BB962C8B-B14F-4D97-AF65-F5344CB8AC3E}">
        <p14:creationId xmlns:p14="http://schemas.microsoft.com/office/powerpoint/2010/main" val="6543129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3" r:id="rId35"/>
    <p:sldLayoutId id="2147483754" r:id="rId36"/>
    <p:sldLayoutId id="2147483755" r:id="rId37"/>
    <p:sldLayoutId id="2147483756" r:id="rId38"/>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27.png"/><Relationship Id="rId7" Type="http://schemas.openxmlformats.org/officeDocument/2006/relationships/diagramLayout" Target="../diagrams/layout1.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Data" Target="../diagrams/data1.xml"/><Relationship Id="rId5" Type="http://schemas.openxmlformats.org/officeDocument/2006/relationships/image" Target="../media/image10.png"/><Relationship Id="rId10" Type="http://schemas.microsoft.com/office/2007/relationships/diagramDrawing" Target="../diagrams/drawing1.xml"/><Relationship Id="rId4" Type="http://schemas.openxmlformats.org/officeDocument/2006/relationships/image" Target="../media/image28.svg"/><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6.jpeg"/><Relationship Id="rId7" Type="http://schemas.openxmlformats.org/officeDocument/2006/relationships/diagramColors" Target="../diagrams/colors2.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10.png"/><Relationship Id="rId4" Type="http://schemas.openxmlformats.org/officeDocument/2006/relationships/diagramLayout" Target="../diagrams/layout3.xml"/><Relationship Id="rId9" Type="http://schemas.openxmlformats.org/officeDocument/2006/relationships/image" Target="../media/image38.sv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njeda.gov/public_information/#rules"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43.png"/><Relationship Id="rId7" Type="http://schemas.openxmlformats.org/officeDocument/2006/relationships/diagramLayout" Target="../diagrams/layout5.xml"/><Relationship Id="rId2" Type="http://schemas.openxmlformats.org/officeDocument/2006/relationships/notesSlide" Target="../notesSlides/notesSlide26.xml"/><Relationship Id="rId1" Type="http://schemas.openxmlformats.org/officeDocument/2006/relationships/slideLayout" Target="../slideLayouts/slideLayout41.xml"/><Relationship Id="rId6" Type="http://schemas.openxmlformats.org/officeDocument/2006/relationships/diagramData" Target="../diagrams/data5.xml"/><Relationship Id="rId5" Type="http://schemas.openxmlformats.org/officeDocument/2006/relationships/image" Target="../media/image45.jpeg"/><Relationship Id="rId10" Type="http://schemas.microsoft.com/office/2007/relationships/diagramDrawing" Target="../diagrams/drawing5.xml"/><Relationship Id="rId4" Type="http://schemas.openxmlformats.org/officeDocument/2006/relationships/image" Target="../media/image44.svg"/><Relationship Id="rId9" Type="http://schemas.openxmlformats.org/officeDocument/2006/relationships/diagramColors" Target="../diagrams/colors5.xml"/></Relationships>
</file>

<file path=ppt/slides/_rels/slide2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4.jpe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10.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C72A9-883F-4800-824A-70F5C325BF87}"/>
              </a:ext>
            </a:extLst>
          </p:cNvPr>
          <p:cNvSpPr>
            <a:spLocks noGrp="1"/>
          </p:cNvSpPr>
          <p:nvPr>
            <p:ph type="ctrTitle"/>
          </p:nvPr>
        </p:nvSpPr>
        <p:spPr>
          <a:xfrm>
            <a:off x="1039060" y="1650483"/>
            <a:ext cx="6676832" cy="3063142"/>
          </a:xfrm>
        </p:spPr>
        <p:txBody>
          <a:bodyPr vert="horz" lIns="91440" tIns="45720" rIns="91440" bIns="45720" rtlCol="0" anchor="ctr">
            <a:normAutofit/>
          </a:bodyPr>
          <a:lstStyle/>
          <a:p>
            <a:r>
              <a:rPr lang="en-US" b="1">
                <a:effectLst>
                  <a:outerShdw blurRad="50800" dist="38100" dir="8100000" algn="tr" rotWithShape="0">
                    <a:schemeClr val="accent4">
                      <a:lumMod val="50000"/>
                      <a:alpha val="40000"/>
                    </a:schemeClr>
                  </a:outerShdw>
                </a:effectLst>
                <a:latin typeface="Calibri"/>
                <a:cs typeface="Calibri"/>
              </a:rPr>
              <a:t>Next NJ Program-AI EO 63 Listening Session</a:t>
            </a:r>
            <a:br>
              <a:rPr lang="en-US" b="1">
                <a:effectLst>
                  <a:outerShdw blurRad="50800" dist="38100" dir="8100000" algn="tr" rotWithShape="0">
                    <a:schemeClr val="accent4">
                      <a:lumMod val="50000"/>
                      <a:alpha val="40000"/>
                    </a:schemeClr>
                  </a:outerShdw>
                </a:effectLst>
                <a:latin typeface="Calibri"/>
                <a:cs typeface="Calibri"/>
              </a:rPr>
            </a:br>
            <a:endParaRPr lang="en-US" sz="3600" b="1">
              <a:effectLst>
                <a:outerShdw blurRad="50800" dist="38100" dir="8100000" algn="tr" rotWithShape="0">
                  <a:schemeClr val="accent4">
                    <a:lumMod val="50000"/>
                    <a:alpha val="40000"/>
                  </a:schemeClr>
                </a:outerShdw>
              </a:effectLst>
              <a:latin typeface="Calibri"/>
              <a:cs typeface="Calibri"/>
            </a:endParaRPr>
          </a:p>
        </p:txBody>
      </p:sp>
      <p:sp>
        <p:nvSpPr>
          <p:cNvPr id="27" name="Isosceles Triangle 25">
            <a:extLst>
              <a:ext uri="{FF2B5EF4-FFF2-40B4-BE49-F238E27FC236}">
                <a16:creationId xmlns:a16="http://schemas.microsoft.com/office/drawing/2014/main" id="{F678FBB5-7F78-416F-A429-85F8D6DE3481}"/>
              </a:ext>
            </a:extLst>
          </p:cNvPr>
          <p:cNvSpPr/>
          <p:nvPr/>
        </p:nvSpPr>
        <p:spPr>
          <a:xfrm rot="10800000">
            <a:off x="4072127" y="-42806"/>
            <a:ext cx="8163157" cy="1414406"/>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9" name="Title 1">
            <a:extLst>
              <a:ext uri="{FF2B5EF4-FFF2-40B4-BE49-F238E27FC236}">
                <a16:creationId xmlns:a16="http://schemas.microsoft.com/office/drawing/2014/main" id="{9620D23B-E24C-4269-926E-725AC5F6BAE2}"/>
              </a:ext>
            </a:extLst>
          </p:cNvPr>
          <p:cNvSpPr txBox="1">
            <a:spLocks/>
          </p:cNvSpPr>
          <p:nvPr/>
        </p:nvSpPr>
        <p:spPr>
          <a:xfrm>
            <a:off x="1039060" y="4041211"/>
            <a:ext cx="5690616" cy="592769"/>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en-US" sz="2400" b="1">
                <a:solidFill>
                  <a:srgbClr val="00587B"/>
                </a:solidFill>
                <a:latin typeface="Calibri"/>
                <a:cs typeface="Calibri"/>
              </a:rPr>
              <a:t>November 22, 2024</a:t>
            </a:r>
          </a:p>
        </p:txBody>
      </p:sp>
      <p:pic>
        <p:nvPicPr>
          <p:cNvPr id="3" name="Picture 2">
            <a:extLst>
              <a:ext uri="{FF2B5EF4-FFF2-40B4-BE49-F238E27FC236}">
                <a16:creationId xmlns:a16="http://schemas.microsoft.com/office/drawing/2014/main" id="{D163F86F-C8A6-7C34-F83E-697BB8D237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4770" y="304390"/>
            <a:ext cx="8298634" cy="7617479"/>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25">
            <a:extLst>
              <a:ext uri="{FF2B5EF4-FFF2-40B4-BE49-F238E27FC236}">
                <a16:creationId xmlns:a16="http://schemas.microsoft.com/office/drawing/2014/main" id="{963255AC-EC89-1853-0FE9-F9AC2A9B5FCD}"/>
              </a:ext>
            </a:extLst>
          </p:cNvPr>
          <p:cNvSpPr/>
          <p:nvPr/>
        </p:nvSpPr>
        <p:spPr>
          <a:xfrm>
            <a:off x="-43285" y="5489583"/>
            <a:ext cx="8163157" cy="1414407"/>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Picture 4" descr="Icon&#10;&#10;Description automatically generated">
            <a:extLst>
              <a:ext uri="{FF2B5EF4-FFF2-40B4-BE49-F238E27FC236}">
                <a16:creationId xmlns:a16="http://schemas.microsoft.com/office/drawing/2014/main" id="{5F87ABA4-6CCA-80A9-5344-5E24437C75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025" y="437337"/>
            <a:ext cx="2376529" cy="937637"/>
          </a:xfrm>
          <a:prstGeom prst="rect">
            <a:avLst/>
          </a:prstGeom>
        </p:spPr>
      </p:pic>
      <p:sp>
        <p:nvSpPr>
          <p:cNvPr id="6" name="Rectangle 5">
            <a:extLst>
              <a:ext uri="{FF2B5EF4-FFF2-40B4-BE49-F238E27FC236}">
                <a16:creationId xmlns:a16="http://schemas.microsoft.com/office/drawing/2014/main" id="{0C51BC76-3AC1-EEB4-D058-E1DCF73B77E0}"/>
              </a:ext>
            </a:extLst>
          </p:cNvPr>
          <p:cNvSpPr/>
          <p:nvPr/>
        </p:nvSpPr>
        <p:spPr>
          <a:xfrm>
            <a:off x="10208302" y="5996066"/>
            <a:ext cx="1873770" cy="8619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57878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F366C8-01C0-0D42-8333-56776FFEBBEE}"/>
              </a:ext>
            </a:extLst>
          </p:cNvPr>
          <p:cNvSpPr/>
          <p:nvPr/>
        </p:nvSpPr>
        <p:spPr>
          <a:xfrm>
            <a:off x="5450027" y="3774826"/>
            <a:ext cx="6860666" cy="1611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96" rtl="0" eaLnBrk="1" fontAlgn="auto" latinLnBrk="0" hangingPunct="1">
              <a:lnSpc>
                <a:spcPct val="100000"/>
              </a:lnSpc>
              <a:spcBef>
                <a:spcPts val="0"/>
              </a:spcBef>
              <a:spcAft>
                <a:spcPts val="0"/>
              </a:spcAft>
              <a:buClrTx/>
              <a:buSzTx/>
              <a:buFontTx/>
              <a:buNone/>
              <a:tabLst/>
              <a:defRPr/>
            </a:pPr>
            <a:endParaRPr lang="en-US" sz="1837">
              <a:solidFill>
                <a:prstClr val="black"/>
              </a:solidFill>
              <a:latin typeface="Calibri Light" panose="020F0302020204030204" pitchFamily="34" charset="0"/>
              <a:cs typeface="Calibri Light" panose="020F0302020204030204" pitchFamily="34" charset="0"/>
            </a:endParaRPr>
          </a:p>
          <a:p>
            <a:pPr marL="0" marR="0" lvl="0" indent="0" algn="l" defTabSz="914396" rtl="0" eaLnBrk="1" fontAlgn="auto" latinLnBrk="0" hangingPunct="1">
              <a:lnSpc>
                <a:spcPct val="100000"/>
              </a:lnSpc>
              <a:spcBef>
                <a:spcPts val="0"/>
              </a:spcBef>
              <a:spcAft>
                <a:spcPts val="0"/>
              </a:spcAft>
              <a:buClrTx/>
              <a:buSzTx/>
              <a:buFontTx/>
              <a:buNone/>
              <a:tabLst/>
              <a:defRPr/>
            </a:pPr>
            <a:endParaRPr lang="en-US" sz="2041">
              <a:solidFill>
                <a:prstClr val="black"/>
              </a:solidFill>
              <a:latin typeface="Calibri Light" panose="020F0302020204030204" pitchFamily="34" charset="0"/>
              <a:cs typeface="Calibri Light" panose="020F0302020204030204" pitchFamily="34" charset="0"/>
            </a:endParaRPr>
          </a:p>
        </p:txBody>
      </p:sp>
      <p:pic>
        <p:nvPicPr>
          <p:cNvPr id="15" name="Picture 14" descr="Crane">
            <a:extLst>
              <a:ext uri="{FF2B5EF4-FFF2-40B4-BE49-F238E27FC236}">
                <a16:creationId xmlns:a16="http://schemas.microsoft.com/office/drawing/2014/main" id="{B670B286-5E84-8742-8B2E-4044098467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54350" y="90387"/>
            <a:ext cx="790054" cy="790054"/>
          </a:xfrm>
          <a:prstGeom prst="rect">
            <a:avLst/>
          </a:prstGeom>
        </p:spPr>
      </p:pic>
      <p:sp>
        <p:nvSpPr>
          <p:cNvPr id="12" name="Rectangle 11">
            <a:extLst>
              <a:ext uri="{FF2B5EF4-FFF2-40B4-BE49-F238E27FC236}">
                <a16:creationId xmlns:a16="http://schemas.microsoft.com/office/drawing/2014/main" id="{8E636E77-988F-C545-95F4-9B97FA7B3C3D}"/>
              </a:ext>
            </a:extLst>
          </p:cNvPr>
          <p:cNvSpPr/>
          <p:nvPr/>
        </p:nvSpPr>
        <p:spPr>
          <a:xfrm>
            <a:off x="1144404" y="223218"/>
            <a:ext cx="10488904" cy="707886"/>
          </a:xfrm>
          <a:prstGeom prst="rect">
            <a:avLst/>
          </a:prstGeom>
        </p:spPr>
        <p:txBody>
          <a:bodyPr wrap="square">
            <a:sp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r>
              <a:rPr lang="en-US" sz="4000" b="1">
                <a:solidFill>
                  <a:srgbClr val="05597B"/>
                </a:solidFill>
                <a:latin typeface="Calibri" panose="020F0502020204030204"/>
              </a:rPr>
              <a:t>Benefits</a:t>
            </a:r>
          </a:p>
        </p:txBody>
      </p:sp>
      <p:sp>
        <p:nvSpPr>
          <p:cNvPr id="16" name="TextBox 15">
            <a:extLst>
              <a:ext uri="{FF2B5EF4-FFF2-40B4-BE49-F238E27FC236}">
                <a16:creationId xmlns:a16="http://schemas.microsoft.com/office/drawing/2014/main" id="{ED65859E-C0CC-4076-AF21-A7041BC6149B}"/>
              </a:ext>
            </a:extLst>
          </p:cNvPr>
          <p:cNvSpPr txBox="1"/>
          <p:nvPr/>
        </p:nvSpPr>
        <p:spPr>
          <a:xfrm>
            <a:off x="387962" y="5318736"/>
            <a:ext cx="10413571" cy="707886"/>
          </a:xfrm>
          <a:prstGeom prst="rect">
            <a:avLst/>
          </a:prstGeom>
          <a:noFill/>
        </p:spPr>
        <p:txBody>
          <a:bodyPr wrap="square" rtlCol="0">
            <a:spAutoFit/>
          </a:bodyPr>
          <a:lstStyle/>
          <a:p>
            <a:pPr marL="0" marR="0" lvl="0" indent="0" algn="l" defTabSz="914341"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Calibri" panose="020F0502020204030204"/>
                <a:cs typeface="Arial"/>
              </a:rPr>
              <a:t>Projects are NOT ELIGIBLE if they have already commenced site cleanup, unless they could not have known the extent of contamination.</a:t>
            </a:r>
          </a:p>
        </p:txBody>
      </p:sp>
      <p:grpSp>
        <p:nvGrpSpPr>
          <p:cNvPr id="2" name="Group 1">
            <a:extLst>
              <a:ext uri="{FF2B5EF4-FFF2-40B4-BE49-F238E27FC236}">
                <a16:creationId xmlns:a16="http://schemas.microsoft.com/office/drawing/2014/main" id="{64952185-4F0E-8B11-6AEF-A2F2F6AD2A29}"/>
              </a:ext>
            </a:extLst>
          </p:cNvPr>
          <p:cNvGrpSpPr/>
          <p:nvPr/>
        </p:nvGrpSpPr>
        <p:grpSpPr>
          <a:xfrm>
            <a:off x="9968911" y="5899336"/>
            <a:ext cx="1896852" cy="861934"/>
            <a:chOff x="9968911" y="5899336"/>
            <a:chExt cx="1896852" cy="861934"/>
          </a:xfrm>
        </p:grpSpPr>
        <p:sp>
          <p:nvSpPr>
            <p:cNvPr id="3" name="Rectangle 2">
              <a:extLst>
                <a:ext uri="{FF2B5EF4-FFF2-40B4-BE49-F238E27FC236}">
                  <a16:creationId xmlns:a16="http://schemas.microsoft.com/office/drawing/2014/main" id="{1EE53E9C-BF4B-D18C-3418-1922555FE259}"/>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Icon&#10;&#10;Description automatically generated">
              <a:extLst>
                <a:ext uri="{FF2B5EF4-FFF2-40B4-BE49-F238E27FC236}">
                  <a16:creationId xmlns:a16="http://schemas.microsoft.com/office/drawing/2014/main" id="{40EADEB5-E30E-BD20-BEE1-6280DCE673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graphicFrame>
        <p:nvGraphicFramePr>
          <p:cNvPr id="6" name="Diagram 5">
            <a:extLst>
              <a:ext uri="{FF2B5EF4-FFF2-40B4-BE49-F238E27FC236}">
                <a16:creationId xmlns:a16="http://schemas.microsoft.com/office/drawing/2014/main" id="{BCBC0037-DF45-4702-BC24-F065EB62A3B6}"/>
              </a:ext>
            </a:extLst>
          </p:cNvPr>
          <p:cNvGraphicFramePr/>
          <p:nvPr>
            <p:extLst>
              <p:ext uri="{D42A27DB-BD31-4B8C-83A1-F6EECF244321}">
                <p14:modId xmlns:p14="http://schemas.microsoft.com/office/powerpoint/2010/main" val="1232457713"/>
              </p:ext>
            </p:extLst>
          </p:nvPr>
        </p:nvGraphicFramePr>
        <p:xfrm>
          <a:off x="987901" y="1218833"/>
          <a:ext cx="9630084" cy="455894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AutoShape 11">
            <a:extLst>
              <a:ext uri="{FF2B5EF4-FFF2-40B4-BE49-F238E27FC236}">
                <a16:creationId xmlns:a16="http://schemas.microsoft.com/office/drawing/2014/main" id="{7CA78D80-CA66-E32B-BD87-42BF6F6A8D87}"/>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7" name="AutoShape 10">
            <a:extLst>
              <a:ext uri="{FF2B5EF4-FFF2-40B4-BE49-F238E27FC236}">
                <a16:creationId xmlns:a16="http://schemas.microsoft.com/office/drawing/2014/main" id="{10901977-60DB-C683-7D8D-64014ACECB74}"/>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469428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08860" y="278945"/>
            <a:ext cx="10515600" cy="553520"/>
          </a:xfrm>
        </p:spPr>
        <p:txBody>
          <a:bodyPr anchor="t">
            <a:noAutofit/>
          </a:bodyPr>
          <a:lstStyle/>
          <a:p>
            <a:r>
              <a:rPr lang="en-US" sz="3600">
                <a:solidFill>
                  <a:srgbClr val="00597C"/>
                </a:solidFill>
              </a:rPr>
              <a:t>Eligibility</a:t>
            </a:r>
          </a:p>
        </p:txBody>
      </p:sp>
      <p:sp>
        <p:nvSpPr>
          <p:cNvPr id="3" name="TextBox 2">
            <a:extLst>
              <a:ext uri="{FF2B5EF4-FFF2-40B4-BE49-F238E27FC236}">
                <a16:creationId xmlns:a16="http://schemas.microsoft.com/office/drawing/2014/main" id="{AD3D084E-E6DD-4B3A-852A-6439F0CA353B}"/>
              </a:ext>
            </a:extLst>
          </p:cNvPr>
          <p:cNvSpPr txBox="1"/>
          <p:nvPr/>
        </p:nvSpPr>
        <p:spPr>
          <a:xfrm>
            <a:off x="478351" y="1184931"/>
            <a:ext cx="10791919" cy="5555367"/>
          </a:xfrm>
          <a:prstGeom prst="rect">
            <a:avLst/>
          </a:prstGeom>
          <a:noFill/>
        </p:spPr>
        <p:txBody>
          <a:bodyPr wrap="square" lIns="91440" tIns="45720" rIns="91440" bIns="45720" rtlCol="0" anchor="t">
            <a:spAutoFit/>
          </a:bodyPr>
          <a:lstStyle/>
          <a:p>
            <a:pPr marL="569595" lvl="1" indent="-569595">
              <a:spcBef>
                <a:spcPts val="600"/>
              </a:spcBef>
              <a:buClr>
                <a:schemeClr val="accent2"/>
              </a:buClr>
              <a:buFont typeface="System Font Regular"/>
              <a:buChar char="►"/>
            </a:pPr>
            <a:r>
              <a:rPr lang="en-US" sz="2200" b="1">
                <a:solidFill>
                  <a:schemeClr val="accent4">
                    <a:lumMod val="50000"/>
                  </a:schemeClr>
                </a:solidFill>
                <a:latin typeface="Calibri"/>
                <a:cs typeface="Calibri"/>
              </a:rPr>
              <a:t>Minimum Job Creation</a:t>
            </a:r>
            <a:r>
              <a:rPr lang="en-US" sz="2200" b="1">
                <a:solidFill>
                  <a:srgbClr val="000000"/>
                </a:solidFill>
                <a:latin typeface="Calibri"/>
                <a:cs typeface="Calibri"/>
              </a:rPr>
              <a:t>: </a:t>
            </a:r>
            <a:r>
              <a:rPr lang="en-US" sz="2200">
                <a:solidFill>
                  <a:srgbClr val="000000"/>
                </a:solidFill>
                <a:latin typeface="Calibri"/>
                <a:cs typeface="Calibri"/>
              </a:rPr>
              <a:t>100 full-time employees </a:t>
            </a:r>
            <a:endParaRPr lang="en-US" sz="2200">
              <a:latin typeface="Calibri"/>
              <a:cs typeface="Calibri"/>
            </a:endParaRPr>
          </a:p>
          <a:p>
            <a:pPr marL="1483995" lvl="3" indent="-569595">
              <a:spcBef>
                <a:spcPts val="600"/>
              </a:spcBef>
              <a:buClr>
                <a:schemeClr val="accent2"/>
              </a:buClr>
              <a:buFont typeface="System Font Regular"/>
              <a:buChar char="►"/>
            </a:pPr>
            <a:r>
              <a:rPr lang="en-US" sz="2200">
                <a:solidFill>
                  <a:srgbClr val="000000"/>
                </a:solidFill>
                <a:latin typeface="Calibri"/>
                <a:cs typeface="Calibri"/>
              </a:rPr>
              <a:t>Each employee must be paid at least 120% of the county median salary</a:t>
            </a:r>
          </a:p>
          <a:p>
            <a:pPr marL="1483995" lvl="3" indent="-569595">
              <a:spcBef>
                <a:spcPts val="600"/>
              </a:spcBef>
              <a:buClr>
                <a:schemeClr val="accent2"/>
              </a:buClr>
              <a:buFont typeface="System Font Regular"/>
              <a:buChar char="►"/>
            </a:pPr>
            <a:r>
              <a:rPr lang="en-US" sz="2200">
                <a:solidFill>
                  <a:srgbClr val="000000"/>
                </a:solidFill>
                <a:latin typeface="Calibri"/>
                <a:cs typeface="Calibri"/>
              </a:rPr>
              <a:t>Each employee must be assigned to the qualified business facility and in the state at least 80% of their work time.</a:t>
            </a:r>
          </a:p>
          <a:p>
            <a:pPr marL="914400" lvl="3">
              <a:spcBef>
                <a:spcPts val="600"/>
              </a:spcBef>
              <a:buClr>
                <a:schemeClr val="accent2"/>
              </a:buClr>
            </a:pPr>
            <a:endParaRPr lang="en-US" sz="2200">
              <a:solidFill>
                <a:srgbClr val="000000"/>
              </a:solidFill>
              <a:latin typeface="Calibri"/>
              <a:cs typeface="Calibri"/>
            </a:endParaRPr>
          </a:p>
          <a:p>
            <a:pPr marL="569595" lvl="1" indent="-569595">
              <a:spcBef>
                <a:spcPts val="600"/>
              </a:spcBef>
              <a:buClr>
                <a:schemeClr val="accent2"/>
              </a:buClr>
              <a:buFont typeface="System Font Regular"/>
              <a:buChar char="►"/>
            </a:pPr>
            <a:r>
              <a:rPr lang="en-US" sz="2200" b="1">
                <a:solidFill>
                  <a:schemeClr val="accent4">
                    <a:lumMod val="50000"/>
                  </a:schemeClr>
                </a:solidFill>
                <a:latin typeface="Calibri"/>
                <a:cs typeface="Calibri"/>
              </a:rPr>
              <a:t>Minimum Capital Investment</a:t>
            </a:r>
            <a:r>
              <a:rPr lang="en-US" sz="2200" b="1">
                <a:solidFill>
                  <a:srgbClr val="000000"/>
                </a:solidFill>
                <a:latin typeface="Calibri"/>
                <a:cs typeface="Calibri"/>
              </a:rPr>
              <a:t>: </a:t>
            </a:r>
            <a:r>
              <a:rPr lang="en-US" sz="2200">
                <a:solidFill>
                  <a:srgbClr val="000000"/>
                </a:solidFill>
                <a:latin typeface="Calibri"/>
                <a:cs typeface="Calibri"/>
              </a:rPr>
              <a:t>$100 million at qualified business facility.​</a:t>
            </a:r>
          </a:p>
          <a:p>
            <a:pPr marL="0" lvl="1">
              <a:spcBef>
                <a:spcPts val="600"/>
              </a:spcBef>
              <a:buClr>
                <a:schemeClr val="accent2"/>
              </a:buClr>
            </a:pPr>
            <a:endParaRPr lang="en-US" sz="2200">
              <a:solidFill>
                <a:srgbClr val="000000"/>
              </a:solidFill>
              <a:latin typeface="Calibri"/>
              <a:cs typeface="Calibri"/>
            </a:endParaRPr>
          </a:p>
          <a:p>
            <a:pPr marL="569595" lvl="1" indent="-569595">
              <a:spcBef>
                <a:spcPts val="600"/>
              </a:spcBef>
              <a:buClr>
                <a:schemeClr val="accent2"/>
              </a:buClr>
              <a:buFont typeface="System Font Regular"/>
              <a:buChar char="►"/>
            </a:pPr>
            <a:r>
              <a:rPr lang="en-US" sz="2200" b="1">
                <a:solidFill>
                  <a:srgbClr val="000000"/>
                </a:solidFill>
                <a:latin typeface="Calibri"/>
                <a:cs typeface="Calibri"/>
              </a:rPr>
              <a:t>Collaboration:</a:t>
            </a:r>
            <a:r>
              <a:rPr lang="en-US" sz="2200">
                <a:solidFill>
                  <a:srgbClr val="000000"/>
                </a:solidFill>
                <a:latin typeface="Calibri"/>
                <a:cs typeface="Calibri"/>
              </a:rPr>
              <a:t> </a:t>
            </a:r>
            <a:r>
              <a:rPr lang="en-US" sz="2200">
                <a:latin typeface="Calibri"/>
                <a:cs typeface="Calibri"/>
              </a:rPr>
              <a:t>the business will enter a collaborative relationship, evidenced by the provision of price concessions, artificial intelligence support services, or other measures determined appropriate by the Authority, with a New Jersey-based public or private research university or technology startup company, or both.</a:t>
            </a:r>
            <a:endParaRPr lang="en-US" sz="2200">
              <a:solidFill>
                <a:srgbClr val="000000"/>
              </a:solidFill>
              <a:latin typeface="Calibri"/>
              <a:ea typeface="Times New Roman" panose="02020603050405020304" pitchFamily="18" charset="0"/>
              <a:cs typeface="Calibri"/>
            </a:endParaRPr>
          </a:p>
          <a:p>
            <a:pPr marL="456565" lvl="2">
              <a:spcBef>
                <a:spcPts val="600"/>
              </a:spcBef>
              <a:buClr>
                <a:schemeClr val="accent2"/>
              </a:buClr>
            </a:pPr>
            <a:endParaRPr lang="en-US" sz="2400">
              <a:latin typeface="Calibri" panose="020F0502020204030204" pitchFamily="34" charset="0"/>
              <a:cs typeface="Calibri" panose="020F0502020204030204" pitchFamily="34" charset="0"/>
            </a:endParaRPr>
          </a:p>
          <a:p>
            <a:pPr marL="456565" lvl="2">
              <a:spcBef>
                <a:spcPts val="600"/>
              </a:spcBef>
              <a:buClr>
                <a:schemeClr val="accent2"/>
              </a:buClr>
            </a:pPr>
            <a:endParaRPr lang="en-US" sz="2400">
              <a:highlight>
                <a:srgbClr val="FFFF00"/>
              </a:highlight>
              <a:latin typeface="Calibri" panose="020F0502020204030204" pitchFamily="34" charset="0"/>
              <a:cs typeface="Calibri" panose="020F0502020204030204" pitchFamily="34" charset="0"/>
            </a:endParaRPr>
          </a:p>
          <a:p>
            <a:pPr marL="1026795" lvl="2" indent="-569595">
              <a:spcBef>
                <a:spcPts val="600"/>
              </a:spcBef>
              <a:buClr>
                <a:schemeClr val="accent2"/>
              </a:buClr>
              <a:buFont typeface="System Font Regular"/>
              <a:buChar char="►"/>
            </a:pPr>
            <a:endParaRPr lang="en-US" sz="2000">
              <a:solidFill>
                <a:schemeClr val="accent6"/>
              </a:solidFill>
              <a:cs typeface="Arial"/>
            </a:endParaRPr>
          </a:p>
        </p:txBody>
      </p:sp>
      <p:sp>
        <p:nvSpPr>
          <p:cNvPr id="13" name="Slide Number Placeholder 4">
            <a:extLst>
              <a:ext uri="{FF2B5EF4-FFF2-40B4-BE49-F238E27FC236}">
                <a16:creationId xmlns:a16="http://schemas.microsoft.com/office/drawing/2014/main" id="{1D739D49-6437-479D-A05C-002E02F3FEA4}"/>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latin typeface="Calibri" panose="020F0502020204030204" pitchFamily="34" charset="0"/>
                <a:cs typeface="Calibri" panose="020F0502020204030204" pitchFamily="34" charset="0"/>
              </a:rPr>
              <a:pPr/>
              <a:t>11</a:t>
            </a:fld>
            <a:endParaRPr lang="en-US" sz="1100" b="1">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333740E4-B60B-C78F-E698-E2E7311C4038}"/>
              </a:ext>
            </a:extLst>
          </p:cNvPr>
          <p:cNvSpPr/>
          <p:nvPr/>
        </p:nvSpPr>
        <p:spPr>
          <a:xfrm>
            <a:off x="1461" y="1156367"/>
            <a:ext cx="12190539" cy="4607406"/>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grpSp>
        <p:nvGrpSpPr>
          <p:cNvPr id="5" name="Group 4">
            <a:extLst>
              <a:ext uri="{FF2B5EF4-FFF2-40B4-BE49-F238E27FC236}">
                <a16:creationId xmlns:a16="http://schemas.microsoft.com/office/drawing/2014/main" id="{E408701E-639E-29C7-4579-DD76BA48476C}"/>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61F9E863-C94F-3B96-BB96-B957DEA97B01}"/>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47384691-A78F-E17A-E14B-22EB8B217B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0" name="AutoShape 11">
            <a:extLst>
              <a:ext uri="{FF2B5EF4-FFF2-40B4-BE49-F238E27FC236}">
                <a16:creationId xmlns:a16="http://schemas.microsoft.com/office/drawing/2014/main" id="{CE790EB3-FC36-CE9E-0C0E-1A1A2CA96B6F}"/>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1" name="AutoShape 10">
            <a:extLst>
              <a:ext uri="{FF2B5EF4-FFF2-40B4-BE49-F238E27FC236}">
                <a16:creationId xmlns:a16="http://schemas.microsoft.com/office/drawing/2014/main" id="{73F33DE0-01D3-97FA-3C5F-DD661E689A6C}"/>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3775059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08860" y="278945"/>
            <a:ext cx="10515600" cy="553520"/>
          </a:xfrm>
        </p:spPr>
        <p:txBody>
          <a:bodyPr anchor="t">
            <a:normAutofit/>
          </a:bodyPr>
          <a:lstStyle/>
          <a:p>
            <a:r>
              <a:rPr lang="en-US" sz="3600">
                <a:solidFill>
                  <a:srgbClr val="00597C"/>
                </a:solidFill>
                <a:latin typeface="Calibri"/>
                <a:cs typeface="Calibri"/>
              </a:rPr>
              <a:t>Eligibility (Cont.)</a:t>
            </a:r>
          </a:p>
        </p:txBody>
      </p:sp>
      <p:sp>
        <p:nvSpPr>
          <p:cNvPr id="3" name="TextBox 2">
            <a:extLst>
              <a:ext uri="{FF2B5EF4-FFF2-40B4-BE49-F238E27FC236}">
                <a16:creationId xmlns:a16="http://schemas.microsoft.com/office/drawing/2014/main" id="{AD3D084E-E6DD-4B3A-852A-6439F0CA353B}"/>
              </a:ext>
            </a:extLst>
          </p:cNvPr>
          <p:cNvSpPr txBox="1"/>
          <p:nvPr/>
        </p:nvSpPr>
        <p:spPr>
          <a:xfrm>
            <a:off x="478353" y="1216930"/>
            <a:ext cx="11228051" cy="2426305"/>
          </a:xfrm>
          <a:prstGeom prst="rect">
            <a:avLst/>
          </a:prstGeom>
          <a:noFill/>
        </p:spPr>
        <p:txBody>
          <a:bodyPr wrap="square" lIns="91440" tIns="45720" rIns="91440" bIns="45720" rtlCol="0" anchor="t">
            <a:spAutoFit/>
          </a:bodyPr>
          <a:lstStyle/>
          <a:p>
            <a:pPr marL="342900" indent="-342900">
              <a:spcBef>
                <a:spcPts val="600"/>
              </a:spcBef>
              <a:buClr>
                <a:schemeClr val="accent2"/>
              </a:buClr>
              <a:buFont typeface="Arial"/>
              <a:buChar char="•"/>
            </a:pPr>
            <a:r>
              <a:rPr lang="en-US" sz="2400" b="1">
                <a:solidFill>
                  <a:schemeClr val="accent4">
                    <a:lumMod val="50000"/>
                  </a:schemeClr>
                </a:solidFill>
                <a:latin typeface="Calibri"/>
                <a:cs typeface="Calibri"/>
              </a:rPr>
              <a:t>Companies Must</a:t>
            </a:r>
            <a:r>
              <a:rPr lang="en-US" sz="2400" b="1">
                <a:solidFill>
                  <a:srgbClr val="000000"/>
                </a:solidFill>
                <a:latin typeface="Calibri"/>
                <a:cs typeface="Calibri"/>
              </a:rPr>
              <a:t>:</a:t>
            </a:r>
            <a:r>
              <a:rPr lang="en-US" sz="2200">
                <a:solidFill>
                  <a:srgbClr val="000000"/>
                </a:solidFill>
                <a:latin typeface="Calibri"/>
                <a:cs typeface="Calibri"/>
              </a:rPr>
              <a:t> maintain a record of good standing with the New Jersey Department of Treasury, Department of Labor and Workforce Development, and Department of Environmental Protection.​</a:t>
            </a:r>
            <a:endParaRPr lang="en-US" sz="2200">
              <a:latin typeface="Calibri"/>
              <a:cs typeface="Calibri"/>
            </a:endParaRPr>
          </a:p>
          <a:p>
            <a:pPr marL="342900" indent="-342900">
              <a:spcBef>
                <a:spcPts val="600"/>
              </a:spcBef>
              <a:buClr>
                <a:schemeClr val="accent2"/>
              </a:buClr>
              <a:buFont typeface="Arial"/>
              <a:buChar char="•"/>
            </a:pPr>
            <a:endParaRPr lang="en-US" sz="2200">
              <a:solidFill>
                <a:srgbClr val="000000"/>
              </a:solidFill>
              <a:latin typeface="Calibri"/>
              <a:cs typeface="Calibri"/>
            </a:endParaRPr>
          </a:p>
          <a:p>
            <a:pPr marL="342900" lvl="1" indent="-342900">
              <a:spcBef>
                <a:spcPts val="600"/>
              </a:spcBef>
              <a:buClr>
                <a:schemeClr val="accent2"/>
              </a:buClr>
              <a:buFont typeface="Arial"/>
              <a:buChar char="•"/>
            </a:pPr>
            <a:r>
              <a:rPr lang="en-US" sz="2400" b="1">
                <a:solidFill>
                  <a:schemeClr val="accent4">
                    <a:lumMod val="50000"/>
                  </a:schemeClr>
                </a:solidFill>
                <a:latin typeface="Calibri"/>
                <a:cs typeface="Calibri"/>
              </a:rPr>
              <a:t>Prevailing Wages</a:t>
            </a:r>
            <a:r>
              <a:rPr lang="en-US" sz="2400" b="1">
                <a:solidFill>
                  <a:srgbClr val="000000"/>
                </a:solidFill>
                <a:latin typeface="Calibri"/>
                <a:cs typeface="Calibri"/>
              </a:rPr>
              <a:t>:</a:t>
            </a:r>
            <a:r>
              <a:rPr lang="en-US" sz="2200">
                <a:solidFill>
                  <a:srgbClr val="000000"/>
                </a:solidFill>
                <a:latin typeface="Calibri"/>
                <a:cs typeface="Calibri"/>
              </a:rPr>
              <a:t> construction contracts and building services contracts must adhere to New Jersey’s prevailing wage and labor compliance requirements. </a:t>
            </a:r>
          </a:p>
          <a:p>
            <a:pPr marL="342900" lvl="1" indent="-342900">
              <a:spcBef>
                <a:spcPts val="600"/>
              </a:spcBef>
              <a:buClr>
                <a:schemeClr val="accent2"/>
              </a:buClr>
              <a:buFont typeface="Arial"/>
              <a:buChar char="•"/>
            </a:pPr>
            <a:endParaRPr lang="en-US" sz="2200">
              <a:solidFill>
                <a:srgbClr val="000000"/>
              </a:solidFill>
              <a:latin typeface="Calibri"/>
              <a:cs typeface="Calibri"/>
            </a:endParaRPr>
          </a:p>
          <a:p>
            <a:pPr marL="342900" lvl="1" indent="-342900">
              <a:spcBef>
                <a:spcPts val="600"/>
              </a:spcBef>
              <a:buClr>
                <a:schemeClr val="accent2"/>
              </a:buClr>
              <a:buFont typeface="Arial"/>
              <a:buChar char="•"/>
            </a:pPr>
            <a:r>
              <a:rPr lang="en-US" sz="2400" b="1">
                <a:solidFill>
                  <a:schemeClr val="accent4">
                    <a:lumMod val="50000"/>
                  </a:schemeClr>
                </a:solidFill>
                <a:latin typeface="Calibri"/>
                <a:cs typeface="Calibri"/>
              </a:rPr>
              <a:t>Minimum Environmental and Sustainability Standards</a:t>
            </a:r>
            <a:r>
              <a:rPr lang="en-US" sz="2200" b="1">
                <a:solidFill>
                  <a:schemeClr val="accent4">
                    <a:lumMod val="50000"/>
                  </a:schemeClr>
                </a:solidFill>
                <a:latin typeface="Calibri"/>
                <a:cs typeface="Calibri"/>
              </a:rPr>
              <a:t>:</a:t>
            </a:r>
            <a:r>
              <a:rPr lang="en-US" sz="2200">
                <a:solidFill>
                  <a:srgbClr val="000000"/>
                </a:solidFill>
                <a:latin typeface="Calibri"/>
                <a:cs typeface="Calibri"/>
              </a:rPr>
              <a:t> means standards established by the Authority in accordance with the green building manual prepared by the Commissioner of the Department of Community Affairs.</a:t>
            </a:r>
            <a:endParaRPr lang="en-US" sz="2200">
              <a:solidFill>
                <a:schemeClr val="accent6"/>
              </a:solidFill>
              <a:latin typeface="Calibri"/>
              <a:cs typeface="Calibri"/>
            </a:endParaRPr>
          </a:p>
        </p:txBody>
      </p:sp>
      <p:sp>
        <p:nvSpPr>
          <p:cNvPr id="13" name="Slide Number Placeholder 4">
            <a:extLst>
              <a:ext uri="{FF2B5EF4-FFF2-40B4-BE49-F238E27FC236}">
                <a16:creationId xmlns:a16="http://schemas.microsoft.com/office/drawing/2014/main" id="{1D739D49-6437-479D-A05C-002E02F3FEA4}"/>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latin typeface="Calibri" panose="020F0502020204030204" pitchFamily="34" charset="0"/>
                <a:cs typeface="Calibri" panose="020F0502020204030204" pitchFamily="34" charset="0"/>
              </a:rPr>
              <a:pPr/>
              <a:t>12</a:t>
            </a:fld>
            <a:endParaRPr lang="en-US" sz="1100" b="1">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333740E4-B60B-C78F-E698-E2E7311C4038}"/>
              </a:ext>
            </a:extLst>
          </p:cNvPr>
          <p:cNvSpPr/>
          <p:nvPr/>
        </p:nvSpPr>
        <p:spPr>
          <a:xfrm>
            <a:off x="-1163" y="1019130"/>
            <a:ext cx="12213939" cy="4587106"/>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grpSp>
        <p:nvGrpSpPr>
          <p:cNvPr id="5" name="Group 4">
            <a:extLst>
              <a:ext uri="{FF2B5EF4-FFF2-40B4-BE49-F238E27FC236}">
                <a16:creationId xmlns:a16="http://schemas.microsoft.com/office/drawing/2014/main" id="{13B839A2-D4F0-985A-46BA-46673CCBBC69}"/>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91F1D242-501B-9FEB-68DA-6F4A0B475BCA}"/>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B2A93D44-546D-BB20-37C2-B11891EC60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0" name="AutoShape 11">
            <a:extLst>
              <a:ext uri="{FF2B5EF4-FFF2-40B4-BE49-F238E27FC236}">
                <a16:creationId xmlns:a16="http://schemas.microsoft.com/office/drawing/2014/main" id="{A10E1E61-85DC-DF00-D97F-4BFEE727C2D4}"/>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1" name="AutoShape 10">
            <a:extLst>
              <a:ext uri="{FF2B5EF4-FFF2-40B4-BE49-F238E27FC236}">
                <a16:creationId xmlns:a16="http://schemas.microsoft.com/office/drawing/2014/main" id="{A3970AEC-3138-2A5A-E3F9-DB65BDAEB4D2}"/>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2254292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563368" y="278945"/>
            <a:ext cx="10515600" cy="553520"/>
          </a:xfrm>
        </p:spPr>
        <p:txBody>
          <a:bodyPr anchor="t">
            <a:normAutofit/>
          </a:bodyPr>
          <a:lstStyle/>
          <a:p>
            <a:r>
              <a:rPr lang="en-US" sz="3600">
                <a:solidFill>
                  <a:srgbClr val="00597C"/>
                </a:solidFill>
                <a:latin typeface="Calibri"/>
                <a:cs typeface="Calibri"/>
              </a:rPr>
              <a:t>Eligibility (Cont.)</a:t>
            </a:r>
          </a:p>
        </p:txBody>
      </p:sp>
      <p:sp>
        <p:nvSpPr>
          <p:cNvPr id="3" name="TextBox 2">
            <a:extLst>
              <a:ext uri="{FF2B5EF4-FFF2-40B4-BE49-F238E27FC236}">
                <a16:creationId xmlns:a16="http://schemas.microsoft.com/office/drawing/2014/main" id="{AD3D084E-E6DD-4B3A-852A-6439F0CA353B}"/>
              </a:ext>
            </a:extLst>
          </p:cNvPr>
          <p:cNvSpPr txBox="1"/>
          <p:nvPr/>
        </p:nvSpPr>
        <p:spPr>
          <a:xfrm>
            <a:off x="387166" y="1251161"/>
            <a:ext cx="10866426" cy="872034"/>
          </a:xfrm>
          <a:prstGeom prst="rect">
            <a:avLst/>
          </a:prstGeom>
          <a:noFill/>
        </p:spPr>
        <p:txBody>
          <a:bodyPr wrap="square" lIns="91440" tIns="45720" rIns="91440" bIns="45720" rtlCol="0" anchor="t">
            <a:spAutoFit/>
          </a:bodyPr>
          <a:lstStyle/>
          <a:p>
            <a:pPr marL="569595" lvl="1" indent="-569595">
              <a:spcBef>
                <a:spcPts val="600"/>
              </a:spcBef>
              <a:buClr>
                <a:schemeClr val="accent2"/>
              </a:buClr>
              <a:buFont typeface="System Font Regular"/>
              <a:buChar char="►"/>
            </a:pPr>
            <a:r>
              <a:rPr lang="en-US" sz="2200" b="1">
                <a:solidFill>
                  <a:schemeClr val="accent4">
                    <a:lumMod val="50000"/>
                  </a:schemeClr>
                </a:solidFill>
                <a:latin typeface="Calibri"/>
                <a:cs typeface="Calibri"/>
              </a:rPr>
              <a:t>AI Activities</a:t>
            </a:r>
            <a:r>
              <a:rPr lang="en-US" sz="2200" b="1">
                <a:solidFill>
                  <a:srgbClr val="000000"/>
                </a:solidFill>
                <a:latin typeface="Calibri"/>
                <a:cs typeface="Calibri"/>
              </a:rPr>
              <a:t>: </a:t>
            </a:r>
            <a:r>
              <a:rPr lang="en-US" sz="2200">
                <a:solidFill>
                  <a:srgbClr val="000000"/>
                </a:solidFill>
                <a:latin typeface="Calibri"/>
                <a:cs typeface="Calibri"/>
              </a:rPr>
              <a:t>The applicant business or division of the business must have more than 50% of employees involved in AI related activities or more than 50% of revenue from AI related activities; or both.​ </a:t>
            </a:r>
            <a:endParaRPr lang="en-US" sz="2200">
              <a:latin typeface="Calibri"/>
              <a:cs typeface="Calibri"/>
            </a:endParaRPr>
          </a:p>
          <a:p>
            <a:pPr marL="1026795" lvl="2" indent="-569595">
              <a:spcBef>
                <a:spcPts val="600"/>
              </a:spcBef>
              <a:buClr>
                <a:schemeClr val="accent2"/>
              </a:buClr>
              <a:buFont typeface="System Font Regular"/>
              <a:buChar char="►"/>
            </a:pPr>
            <a:endParaRPr lang="en-US" sz="2000">
              <a:solidFill>
                <a:schemeClr val="accent6"/>
              </a:solidFill>
              <a:cs typeface="Arial"/>
            </a:endParaRPr>
          </a:p>
        </p:txBody>
      </p:sp>
      <p:sp>
        <p:nvSpPr>
          <p:cNvPr id="13" name="Slide Number Placeholder 4">
            <a:extLst>
              <a:ext uri="{FF2B5EF4-FFF2-40B4-BE49-F238E27FC236}">
                <a16:creationId xmlns:a16="http://schemas.microsoft.com/office/drawing/2014/main" id="{1D739D49-6437-479D-A05C-002E02F3FEA4}"/>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latin typeface="Calibri" panose="020F0502020204030204" pitchFamily="34" charset="0"/>
                <a:cs typeface="Calibri" panose="020F0502020204030204" pitchFamily="34" charset="0"/>
              </a:rPr>
              <a:pPr/>
              <a:t>13</a:t>
            </a:fld>
            <a:endParaRPr lang="en-US" sz="1100" b="1">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333740E4-B60B-C78F-E698-E2E7311C4038}"/>
              </a:ext>
            </a:extLst>
          </p:cNvPr>
          <p:cNvSpPr/>
          <p:nvPr/>
        </p:nvSpPr>
        <p:spPr>
          <a:xfrm>
            <a:off x="2594" y="1255963"/>
            <a:ext cx="12166989" cy="1121041"/>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5" name="TextBox 4">
            <a:extLst>
              <a:ext uri="{FF2B5EF4-FFF2-40B4-BE49-F238E27FC236}">
                <a16:creationId xmlns:a16="http://schemas.microsoft.com/office/drawing/2014/main" id="{927CF340-AD22-7CA0-9E97-41E759B92165}"/>
              </a:ext>
            </a:extLst>
          </p:cNvPr>
          <p:cNvSpPr txBox="1"/>
          <p:nvPr/>
        </p:nvSpPr>
        <p:spPr>
          <a:xfrm>
            <a:off x="567980" y="2733999"/>
            <a:ext cx="10680059" cy="2123658"/>
          </a:xfrm>
          <a:prstGeom prst="rect">
            <a:avLst/>
          </a:prstGeom>
          <a:noFill/>
        </p:spPr>
        <p:txBody>
          <a:bodyPr wrap="square" lIns="91440" tIns="45720" rIns="91440" bIns="45720" rtlCol="0" anchor="t">
            <a:spAutoFit/>
          </a:bodyPr>
          <a:lstStyle/>
          <a:p>
            <a:pPr marL="456565" lvl="1"/>
            <a:r>
              <a:rPr lang="en-US" sz="2200" b="1" u="sng">
                <a:solidFill>
                  <a:schemeClr val="accent4">
                    <a:lumMod val="50000"/>
                  </a:schemeClr>
                </a:solidFill>
                <a:latin typeface="Calibri"/>
                <a:cs typeface="Calibri"/>
              </a:rPr>
              <a:t>AI-related activities include, but are not limited to</a:t>
            </a:r>
            <a:r>
              <a:rPr lang="en-US" sz="2200">
                <a:solidFill>
                  <a:schemeClr val="accent4">
                    <a:lumMod val="50000"/>
                  </a:schemeClr>
                </a:solidFill>
                <a:latin typeface="Calibri"/>
                <a:cs typeface="Calibri"/>
              </a:rPr>
              <a:t>: Developing new AI algorithms and techniques, such as machine learning, natural language processing, and computer vision; creating AI-powered software and hardware products for various applications; medical AI modelling or programing; development of AI chatbots for customer service; AI development for vehicles, and collecting, storing, and managing the vast amount of data needed to train and use AI models.</a:t>
            </a:r>
            <a:r>
              <a:rPr lang="en-US" sz="2000">
                <a:solidFill>
                  <a:schemeClr val="accent4">
                    <a:lumMod val="50000"/>
                  </a:schemeClr>
                </a:solidFill>
                <a:latin typeface="Times New Roman"/>
                <a:cs typeface="Times New Roman"/>
              </a:rPr>
              <a:t>  </a:t>
            </a:r>
            <a:endParaRPr lang="en-US" sz="2000">
              <a:solidFill>
                <a:schemeClr val="accent4">
                  <a:lumMod val="50000"/>
                </a:schemeClr>
              </a:solidFill>
            </a:endParaRPr>
          </a:p>
        </p:txBody>
      </p:sp>
      <p:grpSp>
        <p:nvGrpSpPr>
          <p:cNvPr id="6" name="Group 5">
            <a:extLst>
              <a:ext uri="{FF2B5EF4-FFF2-40B4-BE49-F238E27FC236}">
                <a16:creationId xmlns:a16="http://schemas.microsoft.com/office/drawing/2014/main" id="{2F75A52C-CAEA-1A62-E5B9-C94DE80BB6E1}"/>
              </a:ext>
            </a:extLst>
          </p:cNvPr>
          <p:cNvGrpSpPr/>
          <p:nvPr/>
        </p:nvGrpSpPr>
        <p:grpSpPr>
          <a:xfrm>
            <a:off x="9968911" y="5899336"/>
            <a:ext cx="1896852" cy="861934"/>
            <a:chOff x="9968911" y="5899336"/>
            <a:chExt cx="1896852" cy="861934"/>
          </a:xfrm>
        </p:grpSpPr>
        <p:sp>
          <p:nvSpPr>
            <p:cNvPr id="7" name="Rectangle 6">
              <a:extLst>
                <a:ext uri="{FF2B5EF4-FFF2-40B4-BE49-F238E27FC236}">
                  <a16:creationId xmlns:a16="http://schemas.microsoft.com/office/drawing/2014/main" id="{6B02305B-98F2-66E5-FF4C-5DBE72AE326E}"/>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E4FAE325-9F64-4568-32EF-914245918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1" name="AutoShape 11">
            <a:extLst>
              <a:ext uri="{FF2B5EF4-FFF2-40B4-BE49-F238E27FC236}">
                <a16:creationId xmlns:a16="http://schemas.microsoft.com/office/drawing/2014/main" id="{4844FDA1-B551-282C-CBD9-58BFDB563C39}"/>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2" name="AutoShape 10">
            <a:extLst>
              <a:ext uri="{FF2B5EF4-FFF2-40B4-BE49-F238E27FC236}">
                <a16:creationId xmlns:a16="http://schemas.microsoft.com/office/drawing/2014/main" id="{DB7C06AA-804D-A8C4-5986-D139BA11A82D}"/>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3504540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6694E21-EB24-5460-4870-223C6DB2006A}"/>
              </a:ext>
            </a:extLst>
          </p:cNvPr>
          <p:cNvSpPr/>
          <p:nvPr/>
        </p:nvSpPr>
        <p:spPr>
          <a:xfrm>
            <a:off x="7764651" y="1346180"/>
            <a:ext cx="4246535" cy="4062728"/>
          </a:xfrm>
          <a:prstGeom prst="rect">
            <a:avLst/>
          </a:prstGeom>
          <a:solidFill>
            <a:srgbClr val="0059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08860" y="278945"/>
            <a:ext cx="10515600" cy="553520"/>
          </a:xfrm>
        </p:spPr>
        <p:txBody>
          <a:bodyPr anchor="t">
            <a:normAutofit/>
          </a:bodyPr>
          <a:lstStyle/>
          <a:p>
            <a:r>
              <a:rPr lang="en-US" sz="3600">
                <a:solidFill>
                  <a:srgbClr val="00597C"/>
                </a:solidFill>
              </a:rPr>
              <a:t>Collaborative Relationship</a:t>
            </a:r>
          </a:p>
        </p:txBody>
      </p:sp>
      <p:sp>
        <p:nvSpPr>
          <p:cNvPr id="20" name="Arrow: Pentagon 19">
            <a:extLst>
              <a:ext uri="{FF2B5EF4-FFF2-40B4-BE49-F238E27FC236}">
                <a16:creationId xmlns:a16="http://schemas.microsoft.com/office/drawing/2014/main" id="{EE174440-2BFB-4BA0-8146-ECD86B0E871A}"/>
              </a:ext>
            </a:extLst>
          </p:cNvPr>
          <p:cNvSpPr/>
          <p:nvPr/>
        </p:nvSpPr>
        <p:spPr>
          <a:xfrm>
            <a:off x="477672" y="988105"/>
            <a:ext cx="2740898"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rgbClr val="84BD00"/>
              </a:buClr>
            </a:pPr>
            <a:r>
              <a:rPr lang="en-US" sz="2800" b="1">
                <a:solidFill>
                  <a:schemeClr val="bg1"/>
                </a:solidFill>
                <a:latin typeface="Calibri"/>
                <a:cs typeface="Calibri"/>
              </a:rPr>
              <a:t>Requirements</a:t>
            </a:r>
            <a:r>
              <a:rPr lang="en-US" sz="2000" b="1">
                <a:solidFill>
                  <a:schemeClr val="bg1"/>
                </a:solidFill>
                <a:latin typeface="Calibri"/>
                <a:cs typeface="Calibri"/>
              </a:rPr>
              <a:t>: </a:t>
            </a:r>
            <a:endParaRPr lang="en-US">
              <a:solidFill>
                <a:schemeClr val="bg1"/>
              </a:solidFill>
              <a:cs typeface="Arial"/>
            </a:endParaRPr>
          </a:p>
        </p:txBody>
      </p:sp>
      <p:sp>
        <p:nvSpPr>
          <p:cNvPr id="13" name="Slide Number Placeholder 4">
            <a:extLst>
              <a:ext uri="{FF2B5EF4-FFF2-40B4-BE49-F238E27FC236}">
                <a16:creationId xmlns:a16="http://schemas.microsoft.com/office/drawing/2014/main" id="{1D739D49-6437-479D-A05C-002E02F3FEA4}"/>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latin typeface="Calibri" panose="020F0502020204030204" pitchFamily="34" charset="0"/>
                <a:cs typeface="Calibri" panose="020F0502020204030204" pitchFamily="34" charset="0"/>
              </a:rPr>
              <a:pPr/>
              <a:t>14</a:t>
            </a:fld>
            <a:endParaRPr lang="en-US" sz="1100" b="1">
              <a:latin typeface="Calibri" panose="020F0502020204030204" pitchFamily="34" charset="0"/>
              <a:cs typeface="Calibri" panose="020F0502020204030204" pitchFamily="34" charset="0"/>
            </a:endParaRPr>
          </a:p>
        </p:txBody>
      </p:sp>
      <p:pic>
        <p:nvPicPr>
          <p:cNvPr id="6" name="Picture 5" descr="Photo of school study group enjoying learning">
            <a:extLst>
              <a:ext uri="{FF2B5EF4-FFF2-40B4-BE49-F238E27FC236}">
                <a16:creationId xmlns:a16="http://schemas.microsoft.com/office/drawing/2014/main" id="{1F97D1F3-D4B6-937F-1006-2C6E8E2EAA40}"/>
              </a:ext>
            </a:extLst>
          </p:cNvPr>
          <p:cNvPicPr>
            <a:picLocks noChangeAspect="1"/>
          </p:cNvPicPr>
          <p:nvPr/>
        </p:nvPicPr>
        <p:blipFill>
          <a:blip r:embed="rId3"/>
          <a:stretch>
            <a:fillRect/>
          </a:stretch>
        </p:blipFill>
        <p:spPr>
          <a:xfrm>
            <a:off x="7623963" y="1558647"/>
            <a:ext cx="4218718" cy="4002394"/>
          </a:xfrm>
          <a:prstGeom prst="rect">
            <a:avLst/>
          </a:prstGeom>
        </p:spPr>
      </p:pic>
      <p:grpSp>
        <p:nvGrpSpPr>
          <p:cNvPr id="4" name="Group 3">
            <a:extLst>
              <a:ext uri="{FF2B5EF4-FFF2-40B4-BE49-F238E27FC236}">
                <a16:creationId xmlns:a16="http://schemas.microsoft.com/office/drawing/2014/main" id="{DC3C1B83-7E98-9D46-C3C8-EF685058EAD8}"/>
              </a:ext>
            </a:extLst>
          </p:cNvPr>
          <p:cNvGrpSpPr/>
          <p:nvPr/>
        </p:nvGrpSpPr>
        <p:grpSpPr>
          <a:xfrm>
            <a:off x="9968911" y="5899336"/>
            <a:ext cx="1896852" cy="861934"/>
            <a:chOff x="9968911" y="5899336"/>
            <a:chExt cx="1896852" cy="861934"/>
          </a:xfrm>
        </p:grpSpPr>
        <p:sp>
          <p:nvSpPr>
            <p:cNvPr id="5" name="Rectangle 4">
              <a:extLst>
                <a:ext uri="{FF2B5EF4-FFF2-40B4-BE49-F238E27FC236}">
                  <a16:creationId xmlns:a16="http://schemas.microsoft.com/office/drawing/2014/main" id="{879AE152-0E20-2FC4-F3B2-9984419D60F7}"/>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AC087992-906C-86EA-8F1B-A727844DB7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1" name="AutoShape 11">
            <a:extLst>
              <a:ext uri="{FF2B5EF4-FFF2-40B4-BE49-F238E27FC236}">
                <a16:creationId xmlns:a16="http://schemas.microsoft.com/office/drawing/2014/main" id="{4C8EDC77-5D59-7431-962F-FA22A4FD74AD}"/>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2" name="AutoShape 10">
            <a:extLst>
              <a:ext uri="{FF2B5EF4-FFF2-40B4-BE49-F238E27FC236}">
                <a16:creationId xmlns:a16="http://schemas.microsoft.com/office/drawing/2014/main" id="{F6709311-805E-B21C-9A1A-E229160469D1}"/>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8" name="TextBox 7">
            <a:extLst>
              <a:ext uri="{FF2B5EF4-FFF2-40B4-BE49-F238E27FC236}">
                <a16:creationId xmlns:a16="http://schemas.microsoft.com/office/drawing/2014/main" id="{6566E862-B69A-7E58-45F2-F19BB74C2EF4}"/>
              </a:ext>
            </a:extLst>
          </p:cNvPr>
          <p:cNvSpPr txBox="1"/>
          <p:nvPr/>
        </p:nvSpPr>
        <p:spPr>
          <a:xfrm>
            <a:off x="435503" y="1505440"/>
            <a:ext cx="7003340"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cs typeface="Segoe UI"/>
              </a:rPr>
              <a:t>A </a:t>
            </a:r>
            <a:r>
              <a:rPr lang="en-US" b="1">
                <a:latin typeface="Calibri"/>
                <a:cs typeface="Segoe UI"/>
              </a:rPr>
              <a:t>Collaborative Relationship</a:t>
            </a:r>
            <a:r>
              <a:rPr lang="en-US">
                <a:latin typeface="Calibri"/>
                <a:cs typeface="Segoe UI"/>
              </a:rPr>
              <a:t> involves a partnership between</a:t>
            </a:r>
            <a:endParaRPr lang="en-US">
              <a:latin typeface="Arial"/>
              <a:cs typeface="Arial"/>
            </a:endParaRPr>
          </a:p>
          <a:p>
            <a:r>
              <a:rPr lang="en-US">
                <a:latin typeface="Calibri"/>
                <a:cs typeface="Segoe UI"/>
              </a:rPr>
              <a:t> an eligible business and one or more New Jersey-based entities,</a:t>
            </a:r>
            <a:endParaRPr lang="en-US">
              <a:latin typeface="Arial"/>
              <a:cs typeface="Arial"/>
            </a:endParaRPr>
          </a:p>
          <a:p>
            <a:r>
              <a:rPr lang="en-US">
                <a:latin typeface="Calibri"/>
                <a:cs typeface="Segoe UI"/>
              </a:rPr>
              <a:t> such as public or private research universities or technology</a:t>
            </a:r>
            <a:endParaRPr lang="en-US">
              <a:cs typeface="Arial"/>
            </a:endParaRPr>
          </a:p>
          <a:p>
            <a:r>
              <a:rPr lang="en-US">
                <a:latin typeface="Calibri"/>
                <a:cs typeface="Segoe UI"/>
              </a:rPr>
              <a:t> startups. This partnership must span the commitment period</a:t>
            </a:r>
            <a:endParaRPr lang="en-US">
              <a:latin typeface="Arial"/>
              <a:cs typeface="Arial"/>
            </a:endParaRPr>
          </a:p>
          <a:p>
            <a:r>
              <a:rPr lang="en-US">
                <a:latin typeface="Calibri"/>
                <a:cs typeface="Segoe UI"/>
              </a:rPr>
              <a:t> and may be renewed annually.​</a:t>
            </a:r>
            <a:endParaRPr lang="en-US">
              <a:cs typeface="Arial"/>
            </a:endParaRPr>
          </a:p>
          <a:p>
            <a:endParaRPr lang="en-US">
              <a:latin typeface="Calibri"/>
              <a:cs typeface="Segoe UI"/>
            </a:endParaRPr>
          </a:p>
          <a:p>
            <a:r>
              <a:rPr lang="en-US">
                <a:latin typeface="Calibri"/>
                <a:cs typeface="Segoe UI"/>
              </a:rPr>
              <a:t>Key requirements include:​</a:t>
            </a:r>
          </a:p>
          <a:p>
            <a:endParaRPr lang="en-US">
              <a:latin typeface="Calibri"/>
              <a:cs typeface="Segoe UI"/>
            </a:endParaRPr>
          </a:p>
          <a:p>
            <a:pPr marL="285750" indent="-285750">
              <a:buFont typeface="Arial,Sans-Serif"/>
              <a:buChar char="•"/>
            </a:pPr>
            <a:r>
              <a:rPr lang="en-US" b="1">
                <a:latin typeface="Calibri"/>
                <a:cs typeface="Arial"/>
              </a:rPr>
              <a:t>Evidence of Collaboration</a:t>
            </a:r>
            <a:r>
              <a:rPr lang="en-US">
                <a:latin typeface="Calibri"/>
                <a:cs typeface="Arial"/>
              </a:rPr>
              <a:t>: The relationship must be</a:t>
            </a:r>
          </a:p>
          <a:p>
            <a:r>
              <a:rPr lang="en-US">
                <a:latin typeface="Calibri"/>
                <a:cs typeface="Arial"/>
              </a:rPr>
              <a:t>     demonstrated through activities such as price concessions, AI</a:t>
            </a:r>
          </a:p>
          <a:p>
            <a:r>
              <a:rPr lang="en-US">
                <a:latin typeface="Calibri"/>
                <a:cs typeface="Arial"/>
              </a:rPr>
              <a:t>     support services, or other AI-related initiatives, as determined</a:t>
            </a:r>
          </a:p>
          <a:p>
            <a:r>
              <a:rPr lang="en-US">
                <a:latin typeface="Calibri"/>
                <a:cs typeface="Arial"/>
              </a:rPr>
              <a:t>     appropriate by the Authority’s Board.​</a:t>
            </a:r>
            <a:endParaRPr lang="en-US">
              <a:cs typeface="Arial"/>
            </a:endParaRPr>
          </a:p>
          <a:p>
            <a:endParaRPr lang="en-US">
              <a:latin typeface="Calibri"/>
              <a:cs typeface="Arial"/>
            </a:endParaRPr>
          </a:p>
          <a:p>
            <a:pPr marL="285750" indent="-285750">
              <a:buFont typeface="Arial,Sans-Serif"/>
              <a:buChar char="•"/>
            </a:pPr>
            <a:r>
              <a:rPr lang="en-US" b="1">
                <a:latin typeface="Calibri"/>
                <a:cs typeface="Arial"/>
              </a:rPr>
              <a:t>Minimum Contribution</a:t>
            </a:r>
            <a:r>
              <a:rPr lang="en-US">
                <a:latin typeface="Calibri"/>
                <a:cs typeface="Arial"/>
              </a:rPr>
              <a:t>: The net value of the collaboration must equal at least </a:t>
            </a:r>
            <a:r>
              <a:rPr lang="en-US" b="1">
                <a:latin typeface="Calibri"/>
                <a:cs typeface="Arial"/>
              </a:rPr>
              <a:t>10%</a:t>
            </a:r>
            <a:r>
              <a:rPr lang="en-US">
                <a:latin typeface="Calibri"/>
                <a:cs typeface="Arial"/>
              </a:rPr>
              <a:t> of the award.​</a:t>
            </a:r>
            <a:endParaRPr lang="en-US">
              <a:cs typeface="Arial"/>
            </a:endParaRPr>
          </a:p>
          <a:p>
            <a:endParaRPr lang="en-US">
              <a:latin typeface="Calibri"/>
              <a:cs typeface="Arial"/>
            </a:endParaRPr>
          </a:p>
          <a:p>
            <a:r>
              <a:rPr lang="en-US">
                <a:latin typeface="Calibri"/>
                <a:cs typeface="Segoe UI"/>
              </a:rPr>
              <a:t>This requirement is designed to foster synergy, driving greater outcomes through combined efforts and strengthening New Jersey’s AI ecosystem.</a:t>
            </a:r>
          </a:p>
        </p:txBody>
      </p:sp>
    </p:spTree>
    <p:extLst>
      <p:ext uri="{BB962C8B-B14F-4D97-AF65-F5344CB8AC3E}">
        <p14:creationId xmlns:p14="http://schemas.microsoft.com/office/powerpoint/2010/main" val="2763333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88" name="Rectangle 14987">
            <a:extLst>
              <a:ext uri="{FF2B5EF4-FFF2-40B4-BE49-F238E27FC236}">
                <a16:creationId xmlns:a16="http://schemas.microsoft.com/office/drawing/2014/main" id="{DB0C81E4-275C-3FEB-87D6-8AAD3F0EDA96}"/>
              </a:ext>
            </a:extLst>
          </p:cNvPr>
          <p:cNvSpPr/>
          <p:nvPr/>
        </p:nvSpPr>
        <p:spPr>
          <a:xfrm>
            <a:off x="9029858" y="1202407"/>
            <a:ext cx="2851931" cy="3214464"/>
          </a:xfrm>
          <a:prstGeom prst="rect">
            <a:avLst/>
          </a:prstGeom>
          <a:solidFill>
            <a:srgbClr val="0059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4986" name="Picture 14985">
            <a:extLst>
              <a:ext uri="{FF2B5EF4-FFF2-40B4-BE49-F238E27FC236}">
                <a16:creationId xmlns:a16="http://schemas.microsoft.com/office/drawing/2014/main" id="{45D5C1F9-6456-8124-A0B1-78C9EC4F9329}"/>
              </a:ext>
            </a:extLst>
          </p:cNvPr>
          <p:cNvPicPr>
            <a:picLocks noChangeAspect="1"/>
          </p:cNvPicPr>
          <p:nvPr/>
        </p:nvPicPr>
        <p:blipFill>
          <a:blip r:embed="rId3"/>
          <a:stretch>
            <a:fillRect/>
          </a:stretch>
        </p:blipFill>
        <p:spPr>
          <a:xfrm>
            <a:off x="8700095" y="1392960"/>
            <a:ext cx="3066690" cy="3010002"/>
          </a:xfrm>
          <a:prstGeom prst="rect">
            <a:avLst/>
          </a:prstGeom>
        </p:spPr>
      </p:pic>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08860" y="278945"/>
            <a:ext cx="10515600" cy="553520"/>
          </a:xfrm>
        </p:spPr>
        <p:txBody>
          <a:bodyPr anchor="t">
            <a:normAutofit/>
          </a:bodyPr>
          <a:lstStyle/>
          <a:p>
            <a:r>
              <a:rPr lang="en-US" sz="3600">
                <a:solidFill>
                  <a:srgbClr val="00597C"/>
                </a:solidFill>
              </a:rPr>
              <a:t>Collaborative Relationship</a:t>
            </a:r>
          </a:p>
        </p:txBody>
      </p:sp>
      <p:sp>
        <p:nvSpPr>
          <p:cNvPr id="20" name="Arrow: Pentagon 19">
            <a:extLst>
              <a:ext uri="{FF2B5EF4-FFF2-40B4-BE49-F238E27FC236}">
                <a16:creationId xmlns:a16="http://schemas.microsoft.com/office/drawing/2014/main" id="{EE174440-2BFB-4BA0-8146-ECD86B0E871A}"/>
              </a:ext>
            </a:extLst>
          </p:cNvPr>
          <p:cNvSpPr/>
          <p:nvPr/>
        </p:nvSpPr>
        <p:spPr>
          <a:xfrm>
            <a:off x="477672" y="988105"/>
            <a:ext cx="2740898"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rgbClr val="84BD00"/>
              </a:buClr>
            </a:pPr>
            <a:r>
              <a:rPr lang="en-US" sz="2800" b="1">
                <a:solidFill>
                  <a:schemeClr val="bg1"/>
                </a:solidFill>
                <a:latin typeface="Calibri"/>
                <a:cs typeface="Calibri"/>
              </a:rPr>
              <a:t>EXAMPLE:</a:t>
            </a:r>
            <a:r>
              <a:rPr lang="en-US" sz="2000" b="1">
                <a:solidFill>
                  <a:schemeClr val="bg1"/>
                </a:solidFill>
                <a:latin typeface="Calibri"/>
                <a:cs typeface="Calibri"/>
              </a:rPr>
              <a:t> </a:t>
            </a:r>
            <a:endParaRPr lang="en-US">
              <a:solidFill>
                <a:schemeClr val="bg1"/>
              </a:solidFill>
              <a:cs typeface="Arial"/>
            </a:endParaRPr>
          </a:p>
        </p:txBody>
      </p:sp>
      <p:sp>
        <p:nvSpPr>
          <p:cNvPr id="13" name="Slide Number Placeholder 4">
            <a:extLst>
              <a:ext uri="{FF2B5EF4-FFF2-40B4-BE49-F238E27FC236}">
                <a16:creationId xmlns:a16="http://schemas.microsoft.com/office/drawing/2014/main" id="{1D739D49-6437-479D-A05C-002E02F3FEA4}"/>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latin typeface="Calibri" panose="020F0502020204030204" pitchFamily="34" charset="0"/>
                <a:cs typeface="Calibri" panose="020F0502020204030204" pitchFamily="34" charset="0"/>
              </a:rPr>
              <a:pPr/>
              <a:t>15</a:t>
            </a:fld>
            <a:endParaRPr lang="en-US" sz="1100" b="1">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28846917-2447-1EE3-2F52-F7806E3D3DD9}"/>
              </a:ext>
            </a:extLst>
          </p:cNvPr>
          <p:cNvSpPr txBox="1"/>
          <p:nvPr/>
        </p:nvSpPr>
        <p:spPr>
          <a:xfrm>
            <a:off x="436293" y="1717198"/>
            <a:ext cx="8280211" cy="23391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rgbClr val="84BD00"/>
              </a:buClr>
              <a:buFont typeface="System Font Regular"/>
              <a:buChar char="►"/>
            </a:pPr>
            <a:r>
              <a:rPr lang="en-US" sz="1600" b="1">
                <a:solidFill>
                  <a:srgbClr val="002060"/>
                </a:solidFill>
                <a:latin typeface="Calibri"/>
                <a:ea typeface="+mn-lt"/>
                <a:cs typeface="+mn-lt"/>
              </a:rPr>
              <a:t>10-Year AI Collaboration</a:t>
            </a:r>
            <a:r>
              <a:rPr lang="en-US" sz="1600">
                <a:solidFill>
                  <a:srgbClr val="002060"/>
                </a:solidFill>
                <a:latin typeface="Calibri"/>
                <a:ea typeface="+mn-lt"/>
                <a:cs typeface="+mn-lt"/>
              </a:rPr>
              <a:t>: The business partners with a New Jersey-based research University for a 10-Year AI collaboration.</a:t>
            </a:r>
          </a:p>
          <a:p>
            <a:pPr marL="285750" indent="-285750">
              <a:buClr>
                <a:srgbClr val="84BD00"/>
              </a:buClr>
              <a:buFont typeface="System Font Regular"/>
              <a:buChar char="►"/>
            </a:pPr>
            <a:r>
              <a:rPr lang="en-US" sz="1600" b="1">
                <a:solidFill>
                  <a:srgbClr val="002060"/>
                </a:solidFill>
                <a:latin typeface="Calibri"/>
                <a:ea typeface="+mn-lt"/>
                <a:cs typeface="+mn-lt"/>
              </a:rPr>
              <a:t>Support Services</a:t>
            </a:r>
            <a:r>
              <a:rPr lang="en-US" sz="1600">
                <a:solidFill>
                  <a:srgbClr val="002060"/>
                </a:solidFill>
                <a:latin typeface="Calibri"/>
                <a:ea typeface="+mn-lt"/>
                <a:cs typeface="+mn-lt"/>
              </a:rPr>
              <a:t>: The partnership includes benefits such as price discounts on research services, AI development assistance, and access to specialized AI resources.</a:t>
            </a:r>
            <a:endParaRPr lang="en-US" sz="1600">
              <a:latin typeface="Calibri"/>
              <a:ea typeface="+mn-lt"/>
              <a:cs typeface="+mn-lt"/>
            </a:endParaRPr>
          </a:p>
          <a:p>
            <a:pPr marL="285750" indent="-285750">
              <a:buClr>
                <a:srgbClr val="84BD00"/>
              </a:buClr>
              <a:buFont typeface="System Font Regular"/>
              <a:buChar char="►"/>
            </a:pPr>
            <a:r>
              <a:rPr lang="en-US" sz="1600" b="1">
                <a:solidFill>
                  <a:srgbClr val="002060"/>
                </a:solidFill>
                <a:latin typeface="Calibri"/>
                <a:ea typeface="+mn-lt"/>
                <a:cs typeface="+mn-lt"/>
              </a:rPr>
              <a:t>Minimum Value Requirement</a:t>
            </a:r>
            <a:r>
              <a:rPr lang="en-US" sz="1600">
                <a:solidFill>
                  <a:srgbClr val="002060"/>
                </a:solidFill>
                <a:latin typeface="Calibri"/>
                <a:ea typeface="+mn-lt"/>
                <a:cs typeface="+mn-lt"/>
              </a:rPr>
              <a:t>: The total value of the collaboration must equal at least 10% of the business’s tax incentive award.</a:t>
            </a:r>
            <a:endParaRPr lang="en-US" sz="1600">
              <a:latin typeface="Calibri"/>
              <a:ea typeface="+mn-lt"/>
              <a:cs typeface="+mn-lt"/>
            </a:endParaRPr>
          </a:p>
          <a:p>
            <a:pPr marL="285750" indent="-285750">
              <a:buClr>
                <a:srgbClr val="84BD00"/>
              </a:buClr>
              <a:buFont typeface="System Font Regular"/>
              <a:buChar char="►"/>
            </a:pPr>
            <a:r>
              <a:rPr lang="en-US" sz="1600" b="1">
                <a:solidFill>
                  <a:srgbClr val="002060"/>
                </a:solidFill>
                <a:latin typeface="Calibri"/>
                <a:ea typeface="+mn-lt"/>
                <a:cs typeface="+mn-lt"/>
              </a:rPr>
              <a:t>Example Commitment</a:t>
            </a:r>
            <a:r>
              <a:rPr lang="en-US" sz="1600">
                <a:solidFill>
                  <a:srgbClr val="002060"/>
                </a:solidFill>
                <a:latin typeface="Calibri"/>
                <a:ea typeface="+mn-lt"/>
                <a:cs typeface="+mn-lt"/>
              </a:rPr>
              <a:t>: A $100 million tax incentive, the university collaboration must provide at least $10 million in value over the 10 years.</a:t>
            </a:r>
            <a:endParaRPr lang="en-US" sz="1600">
              <a:latin typeface="Calibri"/>
              <a:ea typeface="+mn-lt"/>
              <a:cs typeface="+mn-lt"/>
            </a:endParaRPr>
          </a:p>
          <a:p>
            <a:endParaRPr lang="en-US">
              <a:solidFill>
                <a:srgbClr val="002060"/>
              </a:solidFill>
              <a:latin typeface="Calibri"/>
              <a:cs typeface="Arial"/>
            </a:endParaRPr>
          </a:p>
        </p:txBody>
      </p:sp>
      <p:graphicFrame>
        <p:nvGraphicFramePr>
          <p:cNvPr id="5" name="Diagram 4">
            <a:extLst>
              <a:ext uri="{FF2B5EF4-FFF2-40B4-BE49-F238E27FC236}">
                <a16:creationId xmlns:a16="http://schemas.microsoft.com/office/drawing/2014/main" id="{37CF1319-E87D-95E8-0359-883D2283A4A9}"/>
              </a:ext>
            </a:extLst>
          </p:cNvPr>
          <p:cNvGraphicFramePr/>
          <p:nvPr>
            <p:extLst>
              <p:ext uri="{D42A27DB-BD31-4B8C-83A1-F6EECF244321}">
                <p14:modId xmlns:p14="http://schemas.microsoft.com/office/powerpoint/2010/main" val="1227250478"/>
              </p:ext>
            </p:extLst>
          </p:nvPr>
        </p:nvGraphicFramePr>
        <p:xfrm>
          <a:off x="1429258" y="4232841"/>
          <a:ext cx="9222309" cy="14726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604" name="TextBox 14603">
            <a:extLst>
              <a:ext uri="{FF2B5EF4-FFF2-40B4-BE49-F238E27FC236}">
                <a16:creationId xmlns:a16="http://schemas.microsoft.com/office/drawing/2014/main" id="{2FC20D75-4685-A87E-E5F2-0FC66AE1E325}"/>
              </a:ext>
            </a:extLst>
          </p:cNvPr>
          <p:cNvSpPr txBox="1"/>
          <p:nvPr/>
        </p:nvSpPr>
        <p:spPr>
          <a:xfrm>
            <a:off x="2271846" y="5160182"/>
            <a:ext cx="598713" cy="20774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latin typeface="Calibri"/>
                <a:ea typeface="Calibri"/>
                <a:cs typeface="Calibri"/>
              </a:rPr>
              <a:t>($1M)</a:t>
            </a:r>
          </a:p>
        </p:txBody>
      </p:sp>
      <p:sp>
        <p:nvSpPr>
          <p:cNvPr id="15039" name="Right Brace 15038">
            <a:extLst>
              <a:ext uri="{FF2B5EF4-FFF2-40B4-BE49-F238E27FC236}">
                <a16:creationId xmlns:a16="http://schemas.microsoft.com/office/drawing/2014/main" id="{6D6F3640-96A8-09E7-71F0-1869CF669F18}"/>
              </a:ext>
            </a:extLst>
          </p:cNvPr>
          <p:cNvSpPr/>
          <p:nvPr/>
        </p:nvSpPr>
        <p:spPr>
          <a:xfrm rot="5400000">
            <a:off x="5316122" y="1155728"/>
            <a:ext cx="1233133" cy="9111342"/>
          </a:xfrm>
          <a:prstGeom prst="righ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040" name="TextBox 15039">
            <a:extLst>
              <a:ext uri="{FF2B5EF4-FFF2-40B4-BE49-F238E27FC236}">
                <a16:creationId xmlns:a16="http://schemas.microsoft.com/office/drawing/2014/main" id="{7004DF77-571C-CD4C-B88D-7181902D93A0}"/>
              </a:ext>
            </a:extLst>
          </p:cNvPr>
          <p:cNvSpPr txBox="1"/>
          <p:nvPr/>
        </p:nvSpPr>
        <p:spPr>
          <a:xfrm>
            <a:off x="3462684" y="6268631"/>
            <a:ext cx="4944990"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2400" b="1">
                <a:solidFill>
                  <a:srgbClr val="00597C"/>
                </a:solidFill>
                <a:latin typeface="Calibri"/>
                <a:ea typeface="Calibri"/>
                <a:cs typeface="Calibri"/>
              </a:rPr>
              <a:t>Total $10 million collaboration</a:t>
            </a:r>
          </a:p>
        </p:txBody>
      </p:sp>
      <p:sp>
        <p:nvSpPr>
          <p:cNvPr id="14601" name="TextBox 14600">
            <a:extLst>
              <a:ext uri="{FF2B5EF4-FFF2-40B4-BE49-F238E27FC236}">
                <a16:creationId xmlns:a16="http://schemas.microsoft.com/office/drawing/2014/main" id="{BF02BD76-5887-4371-4D3B-F9B7243ADFA8}"/>
              </a:ext>
            </a:extLst>
          </p:cNvPr>
          <p:cNvSpPr txBox="1"/>
          <p:nvPr/>
        </p:nvSpPr>
        <p:spPr>
          <a:xfrm>
            <a:off x="3945165" y="5188936"/>
            <a:ext cx="598713" cy="20774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latin typeface="Calibri"/>
                <a:ea typeface="Calibri"/>
                <a:cs typeface="Calibri"/>
              </a:rPr>
              <a:t>($1M)</a:t>
            </a:r>
          </a:p>
        </p:txBody>
      </p:sp>
      <p:sp>
        <p:nvSpPr>
          <p:cNvPr id="14602" name="TextBox 14601">
            <a:extLst>
              <a:ext uri="{FF2B5EF4-FFF2-40B4-BE49-F238E27FC236}">
                <a16:creationId xmlns:a16="http://schemas.microsoft.com/office/drawing/2014/main" id="{C29D290E-70D3-7415-8EF6-468F0AF75E8F}"/>
              </a:ext>
            </a:extLst>
          </p:cNvPr>
          <p:cNvSpPr txBox="1"/>
          <p:nvPr/>
        </p:nvSpPr>
        <p:spPr>
          <a:xfrm>
            <a:off x="8967382" y="5171066"/>
            <a:ext cx="598713" cy="20774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latin typeface="Calibri"/>
                <a:ea typeface="Calibri"/>
                <a:cs typeface="Calibri"/>
              </a:rPr>
              <a:t>($1M)</a:t>
            </a:r>
          </a:p>
        </p:txBody>
      </p:sp>
      <p:sp>
        <p:nvSpPr>
          <p:cNvPr id="14603" name="TextBox 14602">
            <a:extLst>
              <a:ext uri="{FF2B5EF4-FFF2-40B4-BE49-F238E27FC236}">
                <a16:creationId xmlns:a16="http://schemas.microsoft.com/office/drawing/2014/main" id="{70A824DF-8389-DFA2-FB87-F3B0533BBE6B}"/>
              </a:ext>
            </a:extLst>
          </p:cNvPr>
          <p:cNvSpPr txBox="1"/>
          <p:nvPr/>
        </p:nvSpPr>
        <p:spPr>
          <a:xfrm>
            <a:off x="7297965" y="5185444"/>
            <a:ext cx="598713" cy="20774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latin typeface="Calibri"/>
                <a:ea typeface="Calibri"/>
                <a:cs typeface="Calibri"/>
              </a:rPr>
              <a:t>($1M)</a:t>
            </a:r>
          </a:p>
        </p:txBody>
      </p:sp>
      <p:sp>
        <p:nvSpPr>
          <p:cNvPr id="14605" name="TextBox 14604">
            <a:extLst>
              <a:ext uri="{FF2B5EF4-FFF2-40B4-BE49-F238E27FC236}">
                <a16:creationId xmlns:a16="http://schemas.microsoft.com/office/drawing/2014/main" id="{F1CB0B83-7767-FA73-DE5C-A7C3C36FFB2F}"/>
              </a:ext>
            </a:extLst>
          </p:cNvPr>
          <p:cNvSpPr txBox="1"/>
          <p:nvPr/>
        </p:nvSpPr>
        <p:spPr>
          <a:xfrm>
            <a:off x="5617252" y="5171068"/>
            <a:ext cx="598713" cy="20774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latin typeface="Calibri"/>
                <a:ea typeface="Calibri"/>
                <a:cs typeface="Calibri"/>
              </a:rPr>
              <a:t>($1M)</a:t>
            </a:r>
          </a:p>
        </p:txBody>
      </p:sp>
      <p:grpSp>
        <p:nvGrpSpPr>
          <p:cNvPr id="3" name="Group 2">
            <a:extLst>
              <a:ext uri="{FF2B5EF4-FFF2-40B4-BE49-F238E27FC236}">
                <a16:creationId xmlns:a16="http://schemas.microsoft.com/office/drawing/2014/main" id="{77C915C5-82E5-F624-2481-4446EC3107F7}"/>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D5646103-3CBA-0DB8-AFC1-24C3D83D1124}"/>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61A684C4-8DDB-4A5E-70DA-0D3625EB88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0" name="AutoShape 11">
            <a:extLst>
              <a:ext uri="{FF2B5EF4-FFF2-40B4-BE49-F238E27FC236}">
                <a16:creationId xmlns:a16="http://schemas.microsoft.com/office/drawing/2014/main" id="{5B9C3762-13FF-DF03-689B-0E096EDD6552}"/>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1" name="AutoShape 10">
            <a:extLst>
              <a:ext uri="{FF2B5EF4-FFF2-40B4-BE49-F238E27FC236}">
                <a16:creationId xmlns:a16="http://schemas.microsoft.com/office/drawing/2014/main" id="{7D9607A8-8DA6-22C6-069A-4AD7FD641E84}"/>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3345767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986935" y="312286"/>
            <a:ext cx="10515600" cy="553520"/>
          </a:xfrm>
        </p:spPr>
        <p:txBody>
          <a:bodyPr anchor="t">
            <a:normAutofit/>
          </a:bodyPr>
          <a:lstStyle/>
          <a:p>
            <a:r>
              <a:rPr lang="en-US" sz="3600">
                <a:solidFill>
                  <a:srgbClr val="00597C"/>
                </a:solidFill>
                <a:latin typeface="Calibri"/>
                <a:cs typeface="Calibri"/>
              </a:rPr>
              <a:t>Program Timeline</a:t>
            </a:r>
            <a:endParaRPr lang="en-US"/>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16</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1092019"/>
            <a:ext cx="5981649"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10-year Commitment to New Jersey  </a:t>
            </a:r>
          </a:p>
        </p:txBody>
      </p:sp>
      <p:graphicFrame>
        <p:nvGraphicFramePr>
          <p:cNvPr id="98" name="Diagram 97">
            <a:extLst>
              <a:ext uri="{FF2B5EF4-FFF2-40B4-BE49-F238E27FC236}">
                <a16:creationId xmlns:a16="http://schemas.microsoft.com/office/drawing/2014/main" id="{5E472E42-55B4-6DA4-44BB-286037D56045}"/>
              </a:ext>
            </a:extLst>
          </p:cNvPr>
          <p:cNvGraphicFramePr/>
          <p:nvPr>
            <p:extLst>
              <p:ext uri="{D42A27DB-BD31-4B8C-83A1-F6EECF244321}">
                <p14:modId xmlns:p14="http://schemas.microsoft.com/office/powerpoint/2010/main" val="2350196825"/>
              </p:ext>
            </p:extLst>
          </p:nvPr>
        </p:nvGraphicFramePr>
        <p:xfrm>
          <a:off x="1711937" y="2776504"/>
          <a:ext cx="8020856" cy="2187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8" name="Picture 14" descr="Stopwatch with solid fill">
            <a:extLst>
              <a:ext uri="{FF2B5EF4-FFF2-40B4-BE49-F238E27FC236}">
                <a16:creationId xmlns:a16="http://schemas.microsoft.com/office/drawing/2014/main" id="{0168FAB4-AA7D-77C8-F40E-312597D0670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5569" y="72616"/>
            <a:ext cx="790054" cy="790054"/>
          </a:xfrm>
          <a:prstGeom prst="rect">
            <a:avLst/>
          </a:prstGeom>
        </p:spPr>
      </p:pic>
      <p:sp>
        <p:nvSpPr>
          <p:cNvPr id="298" name="Left Brace 297">
            <a:extLst>
              <a:ext uri="{FF2B5EF4-FFF2-40B4-BE49-F238E27FC236}">
                <a16:creationId xmlns:a16="http://schemas.microsoft.com/office/drawing/2014/main" id="{F6548A35-D1CB-6745-DE8B-ECB312568973}"/>
              </a:ext>
            </a:extLst>
          </p:cNvPr>
          <p:cNvSpPr/>
          <p:nvPr/>
        </p:nvSpPr>
        <p:spPr>
          <a:xfrm rot="16200000">
            <a:off x="6797607" y="2478693"/>
            <a:ext cx="904582" cy="4954978"/>
          </a:xfrm>
          <a:prstGeom prst="leftBrace">
            <a:avLst/>
          </a:prstGeom>
          <a:ln w="28575">
            <a:solidFill>
              <a:srgbClr val="00597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9" name="TextBox 298">
            <a:extLst>
              <a:ext uri="{FF2B5EF4-FFF2-40B4-BE49-F238E27FC236}">
                <a16:creationId xmlns:a16="http://schemas.microsoft.com/office/drawing/2014/main" id="{27CFE922-7276-CBEB-A11D-32F4796B14FA}"/>
              </a:ext>
            </a:extLst>
          </p:cNvPr>
          <p:cNvSpPr txBox="1"/>
          <p:nvPr/>
        </p:nvSpPr>
        <p:spPr>
          <a:xfrm>
            <a:off x="4973386" y="5415761"/>
            <a:ext cx="4972443" cy="523220"/>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2800" b="1">
                <a:solidFill>
                  <a:srgbClr val="00597C"/>
                </a:solidFill>
                <a:latin typeface="Calibri"/>
                <a:ea typeface="Calibri"/>
                <a:cs typeface="Arial"/>
              </a:rPr>
              <a:t>Total 10-year commitment to NJ</a:t>
            </a:r>
            <a:endParaRPr lang="en-US" sz="2000">
              <a:solidFill>
                <a:srgbClr val="00597C"/>
              </a:solidFill>
            </a:endParaRPr>
          </a:p>
        </p:txBody>
      </p:sp>
      <p:sp>
        <p:nvSpPr>
          <p:cNvPr id="266" name="TextBox 265">
            <a:extLst>
              <a:ext uri="{FF2B5EF4-FFF2-40B4-BE49-F238E27FC236}">
                <a16:creationId xmlns:a16="http://schemas.microsoft.com/office/drawing/2014/main" id="{03C4BD01-73C7-E76E-DF76-59729689E2C2}"/>
              </a:ext>
            </a:extLst>
          </p:cNvPr>
          <p:cNvSpPr txBox="1"/>
          <p:nvPr/>
        </p:nvSpPr>
        <p:spPr>
          <a:xfrm>
            <a:off x="9895" y="1816456"/>
            <a:ext cx="12038609" cy="507831"/>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569595" lvl="1" indent="-569595">
              <a:spcBef>
                <a:spcPts val="1200"/>
              </a:spcBef>
              <a:buFont typeface="System Font Regular,Sans-Serif"/>
              <a:buChar char="►"/>
            </a:pPr>
            <a:r>
              <a:rPr lang="en-US" sz="2000">
                <a:solidFill>
                  <a:srgbClr val="002060"/>
                </a:solidFill>
                <a:latin typeface="Calibri"/>
                <a:cs typeface="Calibri"/>
              </a:rPr>
              <a:t>Awarded tax credits are issued during the first 5 years of a 10-year commitment to the state. </a:t>
            </a:r>
            <a:endParaRPr lang="en-US">
              <a:cs typeface="Arial"/>
            </a:endParaRPr>
          </a:p>
          <a:p>
            <a:pPr algn="l"/>
            <a:endParaRPr lang="en-US">
              <a:cs typeface="Arial"/>
            </a:endParaRPr>
          </a:p>
        </p:txBody>
      </p:sp>
      <p:sp>
        <p:nvSpPr>
          <p:cNvPr id="276" name="Rectangle 275">
            <a:extLst>
              <a:ext uri="{FF2B5EF4-FFF2-40B4-BE49-F238E27FC236}">
                <a16:creationId xmlns:a16="http://schemas.microsoft.com/office/drawing/2014/main" id="{89405599-207D-1849-4B3D-C86A2A550750}"/>
              </a:ext>
            </a:extLst>
          </p:cNvPr>
          <p:cNvSpPr/>
          <p:nvPr/>
        </p:nvSpPr>
        <p:spPr>
          <a:xfrm>
            <a:off x="-7133" y="1777078"/>
            <a:ext cx="12191312" cy="383483"/>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3" name="AutoShape 11">
            <a:extLst>
              <a:ext uri="{FF2B5EF4-FFF2-40B4-BE49-F238E27FC236}">
                <a16:creationId xmlns:a16="http://schemas.microsoft.com/office/drawing/2014/main" id="{C586998E-CF54-0E2C-FD64-8B4B06E20B6D}"/>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4" name="AutoShape 10">
            <a:extLst>
              <a:ext uri="{FF2B5EF4-FFF2-40B4-BE49-F238E27FC236}">
                <a16:creationId xmlns:a16="http://schemas.microsoft.com/office/drawing/2014/main" id="{180DC0E7-0BC2-BBC5-CB6F-419509E327E4}"/>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grpSp>
        <p:nvGrpSpPr>
          <p:cNvPr id="5" name="Group 4">
            <a:extLst>
              <a:ext uri="{FF2B5EF4-FFF2-40B4-BE49-F238E27FC236}">
                <a16:creationId xmlns:a16="http://schemas.microsoft.com/office/drawing/2014/main" id="{28656081-7B98-394F-A06A-E3C32DFD21FA}"/>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E536AA15-B5FB-EF04-B2F9-ED74A1F1A3D5}"/>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7677A46F-16AD-A92C-3B1D-B75CB32ABDB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Tree>
    <p:extLst>
      <p:ext uri="{BB962C8B-B14F-4D97-AF65-F5344CB8AC3E}">
        <p14:creationId xmlns:p14="http://schemas.microsoft.com/office/powerpoint/2010/main" val="2470773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0ECEB3-6AC7-1D24-E0E9-423B8CDE379A}"/>
              </a:ext>
            </a:extLst>
          </p:cNvPr>
          <p:cNvSpPr/>
          <p:nvPr/>
        </p:nvSpPr>
        <p:spPr>
          <a:xfrm>
            <a:off x="663453" y="943603"/>
            <a:ext cx="5403248" cy="2395476"/>
          </a:xfrm>
          <a:prstGeom prst="rect">
            <a:avLst/>
          </a:prstGeom>
          <a:solidFill>
            <a:srgbClr val="84B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8" name="Rectangle 7">
            <a:extLst>
              <a:ext uri="{FF2B5EF4-FFF2-40B4-BE49-F238E27FC236}">
                <a16:creationId xmlns:a16="http://schemas.microsoft.com/office/drawing/2014/main" id="{57C5CBF4-0839-345F-6996-4615065C1720}"/>
              </a:ext>
            </a:extLst>
          </p:cNvPr>
          <p:cNvSpPr/>
          <p:nvPr/>
        </p:nvSpPr>
        <p:spPr>
          <a:xfrm>
            <a:off x="6336165" y="924602"/>
            <a:ext cx="5092600" cy="2467728"/>
          </a:xfrm>
          <a:prstGeom prst="rect">
            <a:avLst/>
          </a:prstGeom>
          <a:solidFill>
            <a:srgbClr val="0059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23" name="Group 122">
            <a:extLst>
              <a:ext uri="{FF2B5EF4-FFF2-40B4-BE49-F238E27FC236}">
                <a16:creationId xmlns:a16="http://schemas.microsoft.com/office/drawing/2014/main" id="{36748A11-2282-C407-9AD9-124ADF2DE267}"/>
              </a:ext>
            </a:extLst>
          </p:cNvPr>
          <p:cNvGrpSpPr/>
          <p:nvPr/>
        </p:nvGrpSpPr>
        <p:grpSpPr>
          <a:xfrm>
            <a:off x="681834" y="3822454"/>
            <a:ext cx="10567939" cy="2841894"/>
            <a:chOff x="1746608" y="4089814"/>
            <a:chExt cx="9760448" cy="2557566"/>
          </a:xfrm>
        </p:grpSpPr>
        <p:sp>
          <p:nvSpPr>
            <p:cNvPr id="116" name="Rectangle 115">
              <a:extLst>
                <a:ext uri="{FF2B5EF4-FFF2-40B4-BE49-F238E27FC236}">
                  <a16:creationId xmlns:a16="http://schemas.microsoft.com/office/drawing/2014/main" id="{5A04724E-0427-89BA-E062-78271ADCDB02}"/>
                </a:ext>
              </a:extLst>
            </p:cNvPr>
            <p:cNvSpPr/>
            <p:nvPr/>
          </p:nvSpPr>
          <p:spPr>
            <a:xfrm>
              <a:off x="1746608" y="4089814"/>
              <a:ext cx="9760448" cy="2557566"/>
            </a:xfrm>
            <a:prstGeom prst="rect">
              <a:avLst/>
            </a:prstGeom>
            <a:solidFill>
              <a:schemeClr val="bg1"/>
            </a:solidFill>
            <a:ln w="136525" cmpd="sng">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TextBox 112">
              <a:extLst>
                <a:ext uri="{FF2B5EF4-FFF2-40B4-BE49-F238E27FC236}">
                  <a16:creationId xmlns:a16="http://schemas.microsoft.com/office/drawing/2014/main" id="{C43D30A5-D219-9395-DD53-ACDD69A3D549}"/>
                </a:ext>
              </a:extLst>
            </p:cNvPr>
            <p:cNvSpPr txBox="1"/>
            <p:nvPr/>
          </p:nvSpPr>
          <p:spPr>
            <a:xfrm>
              <a:off x="2733929" y="6249053"/>
              <a:ext cx="7785716" cy="246221"/>
            </a:xfrm>
            <a:prstGeom prst="rect">
              <a:avLst/>
            </a:prstGeom>
            <a:noFill/>
          </p:spPr>
          <p:txBody>
            <a:bodyPr wrap="square" rtlCol="0">
              <a:spAutoFit/>
            </a:bodyPr>
            <a:lstStyle/>
            <a:p>
              <a:pPr algn="ctr"/>
              <a:r>
                <a:rPr lang="en-US" sz="1000" b="1" i="1"/>
                <a:t>Awarded tax credits are disbursed over five years. The example of 500 New Jobs is illustrative, based on the maximum cap of $250,000,000.</a:t>
              </a:r>
            </a:p>
          </p:txBody>
        </p:sp>
        <p:pic>
          <p:nvPicPr>
            <p:cNvPr id="120" name="Picture 119">
              <a:extLst>
                <a:ext uri="{FF2B5EF4-FFF2-40B4-BE49-F238E27FC236}">
                  <a16:creationId xmlns:a16="http://schemas.microsoft.com/office/drawing/2014/main" id="{89513424-27D6-9066-0470-77FE6AC88B6C}"/>
                </a:ext>
              </a:extLst>
            </p:cNvPr>
            <p:cNvPicPr>
              <a:picLocks noChangeAspect="1"/>
            </p:cNvPicPr>
            <p:nvPr/>
          </p:nvPicPr>
          <p:blipFill>
            <a:blip r:embed="rId3"/>
            <a:stretch>
              <a:fillRect/>
            </a:stretch>
          </p:blipFill>
          <p:spPr>
            <a:xfrm>
              <a:off x="2405330" y="4243082"/>
              <a:ext cx="8382535" cy="2048959"/>
            </a:xfrm>
            <a:prstGeom prst="rect">
              <a:avLst/>
            </a:prstGeom>
          </p:spPr>
        </p:pic>
      </p:grpSp>
      <p:pic>
        <p:nvPicPr>
          <p:cNvPr id="3" name="Picture 2">
            <a:extLst>
              <a:ext uri="{FF2B5EF4-FFF2-40B4-BE49-F238E27FC236}">
                <a16:creationId xmlns:a16="http://schemas.microsoft.com/office/drawing/2014/main" id="{C1FD590C-6290-5A7A-90FB-3E6264DD216D}"/>
              </a:ext>
            </a:extLst>
          </p:cNvPr>
          <p:cNvPicPr>
            <a:picLocks noChangeAspect="1"/>
          </p:cNvPicPr>
          <p:nvPr/>
        </p:nvPicPr>
        <p:blipFill>
          <a:blip r:embed="rId4"/>
          <a:stretch>
            <a:fillRect/>
          </a:stretch>
        </p:blipFill>
        <p:spPr>
          <a:xfrm>
            <a:off x="6125300" y="1074595"/>
            <a:ext cx="5082249" cy="2515137"/>
          </a:xfrm>
          <a:prstGeom prst="rect">
            <a:avLst/>
          </a:prstGeom>
        </p:spPr>
      </p:pic>
      <p:sp>
        <p:nvSpPr>
          <p:cNvPr id="6" name="TextBox 5">
            <a:extLst>
              <a:ext uri="{FF2B5EF4-FFF2-40B4-BE49-F238E27FC236}">
                <a16:creationId xmlns:a16="http://schemas.microsoft.com/office/drawing/2014/main" id="{AD414381-F8F0-8594-40A0-9BA3232D51DF}"/>
              </a:ext>
            </a:extLst>
          </p:cNvPr>
          <p:cNvSpPr txBox="1"/>
          <p:nvPr/>
        </p:nvSpPr>
        <p:spPr>
          <a:xfrm>
            <a:off x="573206" y="254758"/>
            <a:ext cx="463113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00597C"/>
                </a:solidFill>
                <a:latin typeface="Calibri"/>
              </a:rPr>
              <a:t>Tax Credit Award (Cont.)</a:t>
            </a:r>
            <a:endParaRPr lang="en-US" sz="3200"/>
          </a:p>
        </p:txBody>
      </p:sp>
      <p:pic>
        <p:nvPicPr>
          <p:cNvPr id="4" name="Picture 3">
            <a:extLst>
              <a:ext uri="{FF2B5EF4-FFF2-40B4-BE49-F238E27FC236}">
                <a16:creationId xmlns:a16="http://schemas.microsoft.com/office/drawing/2014/main" id="{5AC72FE3-683C-D840-C090-9E7CD37195CA}"/>
              </a:ext>
            </a:extLst>
          </p:cNvPr>
          <p:cNvPicPr>
            <a:picLocks noChangeAspect="1"/>
          </p:cNvPicPr>
          <p:nvPr/>
        </p:nvPicPr>
        <p:blipFill>
          <a:blip r:embed="rId5"/>
          <a:stretch>
            <a:fillRect/>
          </a:stretch>
        </p:blipFill>
        <p:spPr>
          <a:xfrm>
            <a:off x="500836" y="1273518"/>
            <a:ext cx="5403248" cy="2158828"/>
          </a:xfrm>
          <a:prstGeom prst="rect">
            <a:avLst/>
          </a:prstGeom>
        </p:spPr>
      </p:pic>
      <p:sp>
        <p:nvSpPr>
          <p:cNvPr id="2" name="AutoShape 11">
            <a:extLst>
              <a:ext uri="{FF2B5EF4-FFF2-40B4-BE49-F238E27FC236}">
                <a16:creationId xmlns:a16="http://schemas.microsoft.com/office/drawing/2014/main" id="{4E017FC6-1F3D-BDBC-15D3-2E0A670C76C8}"/>
              </a:ext>
            </a:extLst>
          </p:cNvPr>
          <p:cNvSpPr/>
          <p:nvPr/>
        </p:nvSpPr>
        <p:spPr>
          <a:xfrm>
            <a:off x="5839573"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7" name="AutoShape 10">
            <a:extLst>
              <a:ext uri="{FF2B5EF4-FFF2-40B4-BE49-F238E27FC236}">
                <a16:creationId xmlns:a16="http://schemas.microsoft.com/office/drawing/2014/main" id="{E806CDB5-F3D2-2FF5-A4AB-98C94E1D7E1D}"/>
              </a:ext>
            </a:extLst>
          </p:cNvPr>
          <p:cNvSpPr/>
          <p:nvPr/>
        </p:nvSpPr>
        <p:spPr>
          <a:xfrm>
            <a:off x="429373"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1841417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429374" y="200774"/>
            <a:ext cx="10515600" cy="553520"/>
          </a:xfrm>
        </p:spPr>
        <p:txBody>
          <a:bodyPr anchor="t">
            <a:normAutofit/>
          </a:bodyPr>
          <a:lstStyle/>
          <a:p>
            <a:r>
              <a:rPr lang="en-US" sz="3600">
                <a:solidFill>
                  <a:srgbClr val="00597C"/>
                </a:solidFill>
                <a:latin typeface="Calibri"/>
                <a:cs typeface="Calibri"/>
              </a:rPr>
              <a:t>Additional Program Details (Cont.)</a:t>
            </a:r>
            <a:endParaRPr lang="en-US" sz="3600">
              <a:solidFill>
                <a:srgbClr val="00597C"/>
              </a:solidFill>
            </a:endParaRP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18</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1092019"/>
            <a:ext cx="10839652"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FOREFEITURE, REDUCTION, AND/OR RECAPTURE OF THE TAX CREDIT  </a:t>
            </a:r>
          </a:p>
        </p:txBody>
      </p:sp>
      <p:graphicFrame>
        <p:nvGraphicFramePr>
          <p:cNvPr id="37" name="Diagram 36">
            <a:extLst>
              <a:ext uri="{FF2B5EF4-FFF2-40B4-BE49-F238E27FC236}">
                <a16:creationId xmlns:a16="http://schemas.microsoft.com/office/drawing/2014/main" id="{E2274743-C69C-E6B4-C5FB-601BBA10CBD0}"/>
              </a:ext>
            </a:extLst>
          </p:cNvPr>
          <p:cNvGraphicFramePr/>
          <p:nvPr>
            <p:extLst>
              <p:ext uri="{D42A27DB-BD31-4B8C-83A1-F6EECF244321}">
                <p14:modId xmlns:p14="http://schemas.microsoft.com/office/powerpoint/2010/main" val="2212915572"/>
              </p:ext>
            </p:extLst>
          </p:nvPr>
        </p:nvGraphicFramePr>
        <p:xfrm>
          <a:off x="974271" y="1751399"/>
          <a:ext cx="9129849" cy="5106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Arrow: Chevron 2">
            <a:extLst>
              <a:ext uri="{FF2B5EF4-FFF2-40B4-BE49-F238E27FC236}">
                <a16:creationId xmlns:a16="http://schemas.microsoft.com/office/drawing/2014/main" id="{D6DE2360-9A03-7481-BD86-93EB304C8EA3}"/>
              </a:ext>
            </a:extLst>
          </p:cNvPr>
          <p:cNvSpPr/>
          <p:nvPr/>
        </p:nvSpPr>
        <p:spPr>
          <a:xfrm>
            <a:off x="1046559" y="2913711"/>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87775F6E-29A1-95A3-7C3A-DED7AA4522EA}"/>
              </a:ext>
            </a:extLst>
          </p:cNvPr>
          <p:cNvSpPr/>
          <p:nvPr/>
        </p:nvSpPr>
        <p:spPr>
          <a:xfrm>
            <a:off x="1046559" y="3945677"/>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CE86D63-8DC9-175F-794A-462DA5337B68}"/>
              </a:ext>
            </a:extLst>
          </p:cNvPr>
          <p:cNvSpPr/>
          <p:nvPr/>
        </p:nvSpPr>
        <p:spPr>
          <a:xfrm>
            <a:off x="4072788" y="2927468"/>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 name="Arrow: Chevron 5">
            <a:extLst>
              <a:ext uri="{FF2B5EF4-FFF2-40B4-BE49-F238E27FC236}">
                <a16:creationId xmlns:a16="http://schemas.microsoft.com/office/drawing/2014/main" id="{251C49E6-63B0-BF09-E4DE-7158E2727024}"/>
              </a:ext>
            </a:extLst>
          </p:cNvPr>
          <p:cNvSpPr/>
          <p:nvPr/>
        </p:nvSpPr>
        <p:spPr>
          <a:xfrm>
            <a:off x="4072788" y="3701837"/>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Arrow: Chevron 6">
            <a:extLst>
              <a:ext uri="{FF2B5EF4-FFF2-40B4-BE49-F238E27FC236}">
                <a16:creationId xmlns:a16="http://schemas.microsoft.com/office/drawing/2014/main" id="{4454AC32-D248-537F-B209-295BD5837865}"/>
              </a:ext>
            </a:extLst>
          </p:cNvPr>
          <p:cNvSpPr/>
          <p:nvPr/>
        </p:nvSpPr>
        <p:spPr>
          <a:xfrm>
            <a:off x="4028479" y="4468885"/>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Arrow: Chevron 8">
            <a:extLst>
              <a:ext uri="{FF2B5EF4-FFF2-40B4-BE49-F238E27FC236}">
                <a16:creationId xmlns:a16="http://schemas.microsoft.com/office/drawing/2014/main" id="{1942448C-8597-BF42-7948-001B46B65466}"/>
              </a:ext>
            </a:extLst>
          </p:cNvPr>
          <p:cNvSpPr/>
          <p:nvPr/>
        </p:nvSpPr>
        <p:spPr>
          <a:xfrm>
            <a:off x="6978629" y="2939310"/>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Arrow: Chevron 12">
            <a:extLst>
              <a:ext uri="{FF2B5EF4-FFF2-40B4-BE49-F238E27FC236}">
                <a16:creationId xmlns:a16="http://schemas.microsoft.com/office/drawing/2014/main" id="{E36959C2-ED6A-31A3-B0F9-651BC226835F}"/>
              </a:ext>
            </a:extLst>
          </p:cNvPr>
          <p:cNvSpPr/>
          <p:nvPr/>
        </p:nvSpPr>
        <p:spPr>
          <a:xfrm>
            <a:off x="6978629" y="3709253"/>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Arrow: Chevron 16">
            <a:extLst>
              <a:ext uri="{FF2B5EF4-FFF2-40B4-BE49-F238E27FC236}">
                <a16:creationId xmlns:a16="http://schemas.microsoft.com/office/drawing/2014/main" id="{ED31F7E0-633A-1ADC-ADCF-E9E3125287F4}"/>
              </a:ext>
            </a:extLst>
          </p:cNvPr>
          <p:cNvSpPr/>
          <p:nvPr/>
        </p:nvSpPr>
        <p:spPr>
          <a:xfrm>
            <a:off x="6982437" y="4712725"/>
            <a:ext cx="240776" cy="243840"/>
          </a:xfrm>
          <a:prstGeom prst="chevron">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0" name="Group 9">
            <a:extLst>
              <a:ext uri="{FF2B5EF4-FFF2-40B4-BE49-F238E27FC236}">
                <a16:creationId xmlns:a16="http://schemas.microsoft.com/office/drawing/2014/main" id="{02C41E6C-D676-71D2-AD72-77E279EFCF9D}"/>
              </a:ext>
            </a:extLst>
          </p:cNvPr>
          <p:cNvGrpSpPr/>
          <p:nvPr/>
        </p:nvGrpSpPr>
        <p:grpSpPr>
          <a:xfrm>
            <a:off x="9968911" y="5899336"/>
            <a:ext cx="1896852" cy="861934"/>
            <a:chOff x="9968911" y="5899336"/>
            <a:chExt cx="1896852" cy="861934"/>
          </a:xfrm>
        </p:grpSpPr>
        <p:sp>
          <p:nvSpPr>
            <p:cNvPr id="11" name="Rectangle 10">
              <a:extLst>
                <a:ext uri="{FF2B5EF4-FFF2-40B4-BE49-F238E27FC236}">
                  <a16:creationId xmlns:a16="http://schemas.microsoft.com/office/drawing/2014/main" id="{AA43CC1A-705D-75A5-AF90-E07D2CFFE472}"/>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Icon&#10;&#10;Description automatically generated">
              <a:extLst>
                <a:ext uri="{FF2B5EF4-FFF2-40B4-BE49-F238E27FC236}">
                  <a16:creationId xmlns:a16="http://schemas.microsoft.com/office/drawing/2014/main" id="{300736D9-4BEC-87EF-23EA-FD7AA6DEB9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8" name="AutoShape 11">
            <a:extLst>
              <a:ext uri="{FF2B5EF4-FFF2-40B4-BE49-F238E27FC236}">
                <a16:creationId xmlns:a16="http://schemas.microsoft.com/office/drawing/2014/main" id="{1C43D3F1-7133-1EEB-36A7-EBDFC476AA5A}"/>
              </a:ext>
            </a:extLst>
          </p:cNvPr>
          <p:cNvSpPr/>
          <p:nvPr/>
        </p:nvSpPr>
        <p:spPr>
          <a:xfrm>
            <a:off x="5839573"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9" name="AutoShape 10">
            <a:extLst>
              <a:ext uri="{FF2B5EF4-FFF2-40B4-BE49-F238E27FC236}">
                <a16:creationId xmlns:a16="http://schemas.microsoft.com/office/drawing/2014/main" id="{77D78067-B8ED-4643-98EB-95FB2377C5E8}"/>
              </a:ext>
            </a:extLst>
          </p:cNvPr>
          <p:cNvSpPr/>
          <p:nvPr/>
        </p:nvSpPr>
        <p:spPr>
          <a:xfrm>
            <a:off x="429373"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009253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429374" y="200774"/>
            <a:ext cx="10515600" cy="553520"/>
          </a:xfrm>
        </p:spPr>
        <p:txBody>
          <a:bodyPr anchor="t">
            <a:normAutofit/>
          </a:bodyPr>
          <a:lstStyle/>
          <a:p>
            <a:r>
              <a:rPr lang="en-US" sz="3600">
                <a:solidFill>
                  <a:srgbClr val="00597C"/>
                </a:solidFill>
                <a:latin typeface="Calibri"/>
                <a:cs typeface="Calibri"/>
              </a:rPr>
              <a:t>Additional Program Details (Cont.)</a:t>
            </a:r>
            <a:endParaRPr lang="en-US" sz="3600">
              <a:solidFill>
                <a:srgbClr val="00597C"/>
              </a:solidFill>
            </a:endParaRPr>
          </a:p>
        </p:txBody>
      </p:sp>
      <p:sp>
        <p:nvSpPr>
          <p:cNvPr id="9" name="Arrow: Pentagon 8">
            <a:extLst>
              <a:ext uri="{FF2B5EF4-FFF2-40B4-BE49-F238E27FC236}">
                <a16:creationId xmlns:a16="http://schemas.microsoft.com/office/drawing/2014/main" id="{CD36E5A9-4CD4-4E0A-B761-03B6722532C1}"/>
              </a:ext>
            </a:extLst>
          </p:cNvPr>
          <p:cNvSpPr/>
          <p:nvPr/>
        </p:nvSpPr>
        <p:spPr>
          <a:xfrm>
            <a:off x="0" y="886644"/>
            <a:ext cx="11144384" cy="523220"/>
          </a:xfrm>
          <a:prstGeom prst="homePlate">
            <a:avLst>
              <a:gd name="adj" fmla="val 50000"/>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 FORFEITURE, REDUCTION, AND/OR RECAPTURE (yrs 1-5) OF TAX CREDIT</a:t>
            </a: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19</a:t>
            </a:fld>
            <a:endParaRPr lang="en-US" sz="1100" b="1">
              <a:solidFill>
                <a:srgbClr val="FFFFFF">
                  <a:lumMod val="65000"/>
                </a:srgbClr>
              </a:solidFill>
              <a:latin typeface="Calibri" panose="020F0502020204030204"/>
            </a:endParaRPr>
          </a:p>
        </p:txBody>
      </p:sp>
      <p:sp>
        <p:nvSpPr>
          <p:cNvPr id="18" name="TextBox 17">
            <a:extLst>
              <a:ext uri="{FF2B5EF4-FFF2-40B4-BE49-F238E27FC236}">
                <a16:creationId xmlns:a16="http://schemas.microsoft.com/office/drawing/2014/main" id="{BEFAC1AA-A2A1-4E7F-ADF6-6DF4089F3B9E}"/>
              </a:ext>
            </a:extLst>
          </p:cNvPr>
          <p:cNvSpPr txBox="1"/>
          <p:nvPr/>
        </p:nvSpPr>
        <p:spPr>
          <a:xfrm>
            <a:off x="429373" y="1556816"/>
            <a:ext cx="11120943" cy="5324535"/>
          </a:xfrm>
          <a:prstGeom prst="rect">
            <a:avLst/>
          </a:prstGeom>
          <a:noFill/>
        </p:spPr>
        <p:txBody>
          <a:bodyPr wrap="square" lIns="91440" tIns="45720" rIns="91440" bIns="45720" anchor="t">
            <a:spAutoFit/>
          </a:bodyPr>
          <a:lstStyle/>
          <a:p>
            <a:r>
              <a:rPr lang="en-US" sz="1600" b="1">
                <a:solidFill>
                  <a:srgbClr val="000000"/>
                </a:solidFill>
                <a:latin typeface="Calibri"/>
                <a:cs typeface="Calibri"/>
              </a:rPr>
              <a:t>Statutory Requirement:  80% OF JOB COUNT AND INCENTED SALARY </a:t>
            </a:r>
            <a:r>
              <a:rPr lang="en-US" sz="1600">
                <a:solidFill>
                  <a:srgbClr val="000000"/>
                </a:solidFill>
                <a:latin typeface="Calibri"/>
                <a:cs typeface="Calibri"/>
              </a:rPr>
              <a:t>(a) If, in any tax period, an eligible business reduces the total number of full-time employees in its Statewide workforce by more than 20% from the number of full-time employees in its Statewide workforce in the last tax period prior to the tax credit approval under the program, then the eligible business shall forfeit its credit for that tax period and each subsequent tax period, until the first tax period for which documentation demonstrating the restoration of the eligible business's Statewide workforce to the threshold levels required has been reviewed and approved by the Authority, for which tax period and each subsequent tax period the full amount of the credit shall be allowed. </a:t>
            </a:r>
          </a:p>
          <a:p>
            <a:endParaRPr lang="en-US" sz="1600">
              <a:solidFill>
                <a:srgbClr val="000000"/>
              </a:solidFill>
              <a:latin typeface="Calibri" panose="020F0502020204030204" pitchFamily="34" charset="0"/>
              <a:cs typeface="Calibri"/>
            </a:endParaRPr>
          </a:p>
          <a:p>
            <a:r>
              <a:rPr lang="en-US" sz="1600" b="1">
                <a:solidFill>
                  <a:srgbClr val="000000"/>
                </a:solidFill>
                <a:latin typeface="Calibri"/>
                <a:cs typeface="Calibri"/>
              </a:rPr>
              <a:t>Statutory Requirement:  </a:t>
            </a:r>
            <a:r>
              <a:rPr lang="en-US" sz="1600">
                <a:solidFill>
                  <a:srgbClr val="000000"/>
                </a:solidFill>
                <a:latin typeface="Calibri"/>
                <a:cs typeface="Calibri"/>
              </a:rPr>
              <a:t>The credit shall be forfeited in the case of material misrepresentation.</a:t>
            </a:r>
          </a:p>
          <a:p>
            <a:endParaRPr lang="en-US" sz="1600">
              <a:solidFill>
                <a:srgbClr val="000000"/>
              </a:solidFill>
              <a:latin typeface="Calibri" panose="020F0502020204030204" pitchFamily="34" charset="0"/>
              <a:cs typeface="Calibri" panose="020F0502020204030204" pitchFamily="34" charset="0"/>
            </a:endParaRPr>
          </a:p>
          <a:p>
            <a:r>
              <a:rPr lang="en-US" sz="1600" b="1">
                <a:solidFill>
                  <a:srgbClr val="000000"/>
                </a:solidFill>
                <a:latin typeface="Calibri"/>
                <a:cs typeface="Calibri"/>
              </a:rPr>
              <a:t>Proposed Rules:</a:t>
            </a:r>
          </a:p>
          <a:p>
            <a:pPr marL="285750" indent="-285750">
              <a:buClr>
                <a:srgbClr val="84BD00"/>
              </a:buClr>
              <a:buFont typeface="System Font Regular"/>
              <a:buChar char="►"/>
            </a:pPr>
            <a:r>
              <a:rPr lang="en-US" sz="1600">
                <a:latin typeface="Calibri"/>
                <a:cs typeface="Calibri"/>
              </a:rPr>
              <a:t> Failure to timely submit the annual report or progress report, absent extenuating circumstances and the written approval of the Authority, may result in forfeiture of some or all of the tax credit award. </a:t>
            </a:r>
          </a:p>
          <a:p>
            <a:pPr marL="285750" indent="-285750">
              <a:buClr>
                <a:srgbClr val="84BD00"/>
              </a:buClr>
              <a:buFont typeface="System Font Regular"/>
              <a:buChar char="►"/>
            </a:pPr>
            <a:endParaRPr lang="en-US" sz="1600">
              <a:latin typeface="Calibri"/>
              <a:ea typeface="+mn-lt"/>
              <a:cs typeface="Calibri"/>
            </a:endParaRPr>
          </a:p>
          <a:p>
            <a:pPr marL="285750" indent="-285750">
              <a:buClr>
                <a:srgbClr val="84BD00"/>
              </a:buClr>
              <a:buFont typeface="System Font Regular"/>
              <a:buChar char="►"/>
            </a:pPr>
            <a:r>
              <a:rPr lang="en-US" sz="1600">
                <a:latin typeface="Calibri"/>
                <a:ea typeface="+mn-lt"/>
                <a:cs typeface="+mn-lt"/>
              </a:rPr>
              <a:t>New jobs will be considered as backfilling open positions when establishing the statewide jobs baseline. Only after this baseline is established can they be counted as new full-time positions.</a:t>
            </a:r>
            <a:endParaRPr lang="en-US" sz="1600">
              <a:latin typeface="Calibri"/>
              <a:cs typeface="Calibri"/>
            </a:endParaRPr>
          </a:p>
          <a:p>
            <a:pPr marL="285750" indent="-285750" rtl="0">
              <a:buClr>
                <a:srgbClr val="84BD00"/>
              </a:buClr>
              <a:buFont typeface="System Font Regular"/>
              <a:buChar char="►"/>
            </a:pPr>
            <a:endParaRPr lang="en-US" sz="1600">
              <a:latin typeface="Calibri"/>
              <a:cs typeface="Calibri"/>
            </a:endParaRPr>
          </a:p>
          <a:p>
            <a:pPr marL="285750" indent="-285750" rtl="0">
              <a:buClr>
                <a:srgbClr val="84BD00"/>
              </a:buClr>
              <a:buFont typeface="System Font Regular"/>
              <a:buChar char="►"/>
            </a:pPr>
            <a:r>
              <a:rPr lang="en-US" sz="1600">
                <a:latin typeface="Calibri"/>
                <a:cs typeface="Calibri"/>
              </a:rPr>
              <a:t>In any year in which the applicant is not in substantial good standing with the Department of Labor and Workforce Development, the Department of Environmental Protection, or the Department of the Treasury, the applicant may forfeit all tax credits awarded in that year subject to the determination, in the sole discretion of the Authority, to extend, in individual cases, the deadline for any annual reporting requirement.</a:t>
            </a:r>
          </a:p>
          <a:p>
            <a:pPr rtl="0"/>
            <a:endParaRPr lang="en-US" sz="2000"/>
          </a:p>
        </p:txBody>
      </p:sp>
      <p:sp>
        <p:nvSpPr>
          <p:cNvPr id="3" name="Rectangle 2">
            <a:extLst>
              <a:ext uri="{FF2B5EF4-FFF2-40B4-BE49-F238E27FC236}">
                <a16:creationId xmlns:a16="http://schemas.microsoft.com/office/drawing/2014/main" id="{BF9161C2-56DD-613F-6DB1-D36CC648E6E6}"/>
              </a:ext>
            </a:extLst>
          </p:cNvPr>
          <p:cNvSpPr/>
          <p:nvPr/>
        </p:nvSpPr>
        <p:spPr>
          <a:xfrm flipV="1">
            <a:off x="4197" y="1473367"/>
            <a:ext cx="12183605" cy="2326335"/>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4" name="AutoShape 11">
            <a:extLst>
              <a:ext uri="{FF2B5EF4-FFF2-40B4-BE49-F238E27FC236}">
                <a16:creationId xmlns:a16="http://schemas.microsoft.com/office/drawing/2014/main" id="{01BC7135-2B1B-389C-05D9-07FB1806F5B3}"/>
              </a:ext>
            </a:extLst>
          </p:cNvPr>
          <p:cNvSpPr/>
          <p:nvPr/>
        </p:nvSpPr>
        <p:spPr>
          <a:xfrm>
            <a:off x="5839573"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5" name="AutoShape 10">
            <a:extLst>
              <a:ext uri="{FF2B5EF4-FFF2-40B4-BE49-F238E27FC236}">
                <a16:creationId xmlns:a16="http://schemas.microsoft.com/office/drawing/2014/main" id="{AE03466A-4017-05A9-2DC5-AF263BD41D11}"/>
              </a:ext>
            </a:extLst>
          </p:cNvPr>
          <p:cNvSpPr/>
          <p:nvPr/>
        </p:nvSpPr>
        <p:spPr>
          <a:xfrm>
            <a:off x="429373"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grpSp>
        <p:nvGrpSpPr>
          <p:cNvPr id="6" name="Group 5">
            <a:extLst>
              <a:ext uri="{FF2B5EF4-FFF2-40B4-BE49-F238E27FC236}">
                <a16:creationId xmlns:a16="http://schemas.microsoft.com/office/drawing/2014/main" id="{3AB7495A-6F34-593C-7566-B0591A118937}"/>
              </a:ext>
            </a:extLst>
          </p:cNvPr>
          <p:cNvGrpSpPr/>
          <p:nvPr/>
        </p:nvGrpSpPr>
        <p:grpSpPr>
          <a:xfrm>
            <a:off x="10315531" y="6200436"/>
            <a:ext cx="1447096" cy="657564"/>
            <a:chOff x="9968911" y="5899336"/>
            <a:chExt cx="1896852" cy="861934"/>
          </a:xfrm>
        </p:grpSpPr>
        <p:sp>
          <p:nvSpPr>
            <p:cNvPr id="7" name="Rectangle 6">
              <a:extLst>
                <a:ext uri="{FF2B5EF4-FFF2-40B4-BE49-F238E27FC236}">
                  <a16:creationId xmlns:a16="http://schemas.microsoft.com/office/drawing/2014/main" id="{A7B718A2-F745-C0B9-4515-813E741ADC5C}"/>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2268761C-3F13-5F26-E8B4-68E83A9DAB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Tree>
    <p:extLst>
      <p:ext uri="{BB962C8B-B14F-4D97-AF65-F5344CB8AC3E}">
        <p14:creationId xmlns:p14="http://schemas.microsoft.com/office/powerpoint/2010/main" val="3275216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2F3AF-7718-47B6-9D7F-3526EA7A45CE}"/>
              </a:ext>
            </a:extLst>
          </p:cNvPr>
          <p:cNvSpPr>
            <a:spLocks noGrp="1"/>
          </p:cNvSpPr>
          <p:nvPr>
            <p:ph type="title"/>
          </p:nvPr>
        </p:nvSpPr>
        <p:spPr>
          <a:xfrm>
            <a:off x="457337" y="279467"/>
            <a:ext cx="10486845" cy="633493"/>
          </a:xfrm>
        </p:spPr>
        <p:txBody>
          <a:bodyPr>
            <a:normAutofit/>
          </a:bodyPr>
          <a:lstStyle/>
          <a:p>
            <a:r>
              <a:rPr lang="en-US" sz="3600">
                <a:latin typeface="+mn-lt"/>
                <a:cs typeface="Calibri Light"/>
              </a:rPr>
              <a:t>Recording of Public Feedback Sessions</a:t>
            </a:r>
            <a:endParaRPr lang="en-US" sz="3600">
              <a:latin typeface="+mn-lt"/>
            </a:endParaRPr>
          </a:p>
        </p:txBody>
      </p:sp>
      <p:sp>
        <p:nvSpPr>
          <p:cNvPr id="3" name="Arrow: Pentagon 2">
            <a:extLst>
              <a:ext uri="{FF2B5EF4-FFF2-40B4-BE49-F238E27FC236}">
                <a16:creationId xmlns:a16="http://schemas.microsoft.com/office/drawing/2014/main" id="{5A43879D-62C8-42EE-ACF3-15120A3BBD2A}"/>
              </a:ext>
            </a:extLst>
          </p:cNvPr>
          <p:cNvSpPr/>
          <p:nvPr/>
        </p:nvSpPr>
        <p:spPr>
          <a:xfrm rot="5400000">
            <a:off x="4605172" y="-2828764"/>
            <a:ext cx="3126351" cy="1120322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250C7AC-F318-49A6-B109-DED0C61D6703}"/>
              </a:ext>
            </a:extLst>
          </p:cNvPr>
          <p:cNvSpPr txBox="1"/>
          <p:nvPr/>
        </p:nvSpPr>
        <p:spPr>
          <a:xfrm>
            <a:off x="876737" y="4339378"/>
            <a:ext cx="10236516" cy="1815882"/>
          </a:xfrm>
          <a:prstGeom prst="rect">
            <a:avLst/>
          </a:prstGeom>
          <a:noFill/>
        </p:spPr>
        <p:txBody>
          <a:bodyPr wrap="square" lIns="91440" tIns="45720" rIns="91440" bIns="45720" anchor="t">
            <a:spAutoFit/>
          </a:bodyPr>
          <a:lstStyle/>
          <a:p>
            <a:pPr algn="ctr"/>
            <a:r>
              <a:rPr lang="en-US" sz="2800">
                <a:solidFill>
                  <a:srgbClr val="000000"/>
                </a:solidFill>
                <a:latin typeface="Calibri"/>
                <a:ea typeface="Calibri" panose="020F0502020204030204" pitchFamily="34" charset="0"/>
                <a:cs typeface="Times New Roman"/>
              </a:rPr>
              <a:t>This NJEDA Next NJ Program-AI public feedback session will be recorded and posted on the </a:t>
            </a:r>
            <a:r>
              <a:rPr lang="en-US" sz="2800" b="1" err="1">
                <a:solidFill>
                  <a:srgbClr val="00587B"/>
                </a:solidFill>
                <a:latin typeface="Calibri"/>
                <a:ea typeface="Calibri" panose="020F0502020204030204" pitchFamily="34" charset="0"/>
                <a:cs typeface="Times New Roman"/>
              </a:rPr>
              <a:t>www.njeda.gov</a:t>
            </a:r>
            <a:r>
              <a:rPr lang="en-US" sz="2800" b="1">
                <a:solidFill>
                  <a:srgbClr val="00587B"/>
                </a:solidFill>
                <a:latin typeface="Calibri"/>
                <a:ea typeface="Calibri" panose="020F0502020204030204" pitchFamily="34" charset="0"/>
                <a:cs typeface="Times New Roman"/>
              </a:rPr>
              <a:t> </a:t>
            </a:r>
            <a:r>
              <a:rPr lang="en-US" sz="2800">
                <a:solidFill>
                  <a:schemeClr val="accent6"/>
                </a:solidFill>
                <a:latin typeface="Calibri"/>
                <a:ea typeface="Calibri" panose="020F0502020204030204" pitchFamily="34" charset="0"/>
                <a:cs typeface="Times New Roman"/>
              </a:rPr>
              <a:t>so that members of the public unable to participate in a virtual session have the opportunity to review</a:t>
            </a:r>
            <a:r>
              <a:rPr lang="en-US" sz="2400">
                <a:solidFill>
                  <a:schemeClr val="accent6"/>
                </a:solidFill>
                <a:latin typeface="Calibri"/>
                <a:ea typeface="Calibri" panose="020F0502020204030204" pitchFamily="34" charset="0"/>
                <a:cs typeface="Times New Roman"/>
              </a:rPr>
              <a:t>. </a:t>
            </a:r>
            <a:endParaRPr lang="en-US" sz="2400" b="1">
              <a:solidFill>
                <a:schemeClr val="accent6"/>
              </a:solidFill>
              <a:latin typeface="Calibri"/>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5FFCB364-1A81-4D17-8526-C180D5FB5BBD}"/>
              </a:ext>
            </a:extLst>
          </p:cNvPr>
          <p:cNvSpPr txBox="1"/>
          <p:nvPr/>
        </p:nvSpPr>
        <p:spPr>
          <a:xfrm>
            <a:off x="1974284" y="1350611"/>
            <a:ext cx="8243427" cy="2062103"/>
          </a:xfrm>
          <a:prstGeom prst="rect">
            <a:avLst/>
          </a:prstGeom>
          <a:noFill/>
        </p:spPr>
        <p:txBody>
          <a:bodyPr wrap="square" lIns="91440" tIns="45720" rIns="91440" bIns="45720" rtlCol="0" anchor="t">
            <a:spAutoFit/>
          </a:bodyPr>
          <a:lstStyle/>
          <a:p>
            <a:pPr algn="ctr"/>
            <a:r>
              <a:rPr lang="en-US" sz="3200">
                <a:solidFill>
                  <a:schemeClr val="bg1"/>
                </a:solidFill>
                <a:latin typeface="Calibri"/>
                <a:cs typeface="Times New Roman"/>
              </a:rPr>
              <a:t>Members of the public can submit written feedback on the Next NJ Program-AI Rules via </a:t>
            </a:r>
            <a:r>
              <a:rPr lang="en-US" sz="3200">
                <a:solidFill>
                  <a:schemeClr val="bg1"/>
                </a:solidFill>
                <a:latin typeface="Calibri"/>
                <a:cs typeface="Times New Roman"/>
                <a:hlinkClick r:id="rId2">
                  <a:extLst>
                    <a:ext uri="{A12FA001-AC4F-418D-AE19-62706E023703}">
                      <ahyp:hlinkClr xmlns:ahyp="http://schemas.microsoft.com/office/drawing/2018/hyperlinkcolor" val="tx"/>
                    </a:ext>
                  </a:extLst>
                </a:hlinkClick>
              </a:rPr>
              <a:t>www.njeda.gov/public_information/#rules</a:t>
            </a:r>
            <a:r>
              <a:rPr lang="en-US" sz="3200">
                <a:solidFill>
                  <a:schemeClr val="bg1"/>
                </a:solidFill>
                <a:latin typeface="Calibri"/>
                <a:cs typeface="Times New Roman"/>
              </a:rPr>
              <a:t> through December 2, 2024 at 5PM ET</a:t>
            </a:r>
          </a:p>
        </p:txBody>
      </p:sp>
      <p:grpSp>
        <p:nvGrpSpPr>
          <p:cNvPr id="7" name="Group 6">
            <a:extLst>
              <a:ext uri="{FF2B5EF4-FFF2-40B4-BE49-F238E27FC236}">
                <a16:creationId xmlns:a16="http://schemas.microsoft.com/office/drawing/2014/main" id="{BA182483-F8F5-1F96-16A1-F6E06EDC68FD}"/>
              </a:ext>
            </a:extLst>
          </p:cNvPr>
          <p:cNvGrpSpPr/>
          <p:nvPr/>
        </p:nvGrpSpPr>
        <p:grpSpPr>
          <a:xfrm>
            <a:off x="9968911" y="5899336"/>
            <a:ext cx="1896852" cy="861934"/>
            <a:chOff x="9968911" y="5899336"/>
            <a:chExt cx="1896852" cy="861934"/>
          </a:xfrm>
        </p:grpSpPr>
        <p:sp>
          <p:nvSpPr>
            <p:cNvPr id="4" name="Rectangle 3">
              <a:extLst>
                <a:ext uri="{FF2B5EF4-FFF2-40B4-BE49-F238E27FC236}">
                  <a16:creationId xmlns:a16="http://schemas.microsoft.com/office/drawing/2014/main" id="{F9B383DB-7157-EDFA-B47D-16AEDA0C05D9}"/>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Icon&#10;&#10;Description automatically generated">
              <a:extLst>
                <a:ext uri="{FF2B5EF4-FFF2-40B4-BE49-F238E27FC236}">
                  <a16:creationId xmlns:a16="http://schemas.microsoft.com/office/drawing/2014/main" id="{F981A2F1-936A-949B-16A6-800D93F308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1" name="AutoShape 11">
            <a:extLst>
              <a:ext uri="{FF2B5EF4-FFF2-40B4-BE49-F238E27FC236}">
                <a16:creationId xmlns:a16="http://schemas.microsoft.com/office/drawing/2014/main" id="{CD91848A-08FA-2F6B-1A8A-281A553223A2}"/>
              </a:ext>
            </a:extLst>
          </p:cNvPr>
          <p:cNvSpPr/>
          <p:nvPr/>
        </p:nvSpPr>
        <p:spPr>
          <a:xfrm>
            <a:off x="5869553" y="931318"/>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2" name="AutoShape 10">
            <a:extLst>
              <a:ext uri="{FF2B5EF4-FFF2-40B4-BE49-F238E27FC236}">
                <a16:creationId xmlns:a16="http://schemas.microsoft.com/office/drawing/2014/main" id="{8D3E764F-EE8D-606C-5556-D7EB4E2D0B7E}"/>
              </a:ext>
            </a:extLst>
          </p:cNvPr>
          <p:cNvSpPr/>
          <p:nvPr/>
        </p:nvSpPr>
        <p:spPr>
          <a:xfrm>
            <a:off x="459353" y="931318"/>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3" name="Isosceles Triangle 25">
            <a:extLst>
              <a:ext uri="{FF2B5EF4-FFF2-40B4-BE49-F238E27FC236}">
                <a16:creationId xmlns:a16="http://schemas.microsoft.com/office/drawing/2014/main" id="{773BF0F0-E375-AF07-FF7D-8E168EFD39C1}"/>
              </a:ext>
            </a:extLst>
          </p:cNvPr>
          <p:cNvSpPr/>
          <p:nvPr/>
        </p:nvSpPr>
        <p:spPr>
          <a:xfrm rot="10800000">
            <a:off x="6781800" y="-42809"/>
            <a:ext cx="5410200" cy="122088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Tree>
    <p:extLst>
      <p:ext uri="{BB962C8B-B14F-4D97-AF65-F5344CB8AC3E}">
        <p14:creationId xmlns:p14="http://schemas.microsoft.com/office/powerpoint/2010/main" val="16241332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85800" y="200774"/>
            <a:ext cx="10515600" cy="553520"/>
          </a:xfrm>
        </p:spPr>
        <p:txBody>
          <a:bodyPr anchor="t">
            <a:normAutofit/>
          </a:bodyPr>
          <a:lstStyle/>
          <a:p>
            <a:r>
              <a:rPr lang="en-US" sz="3600">
                <a:solidFill>
                  <a:srgbClr val="00597C"/>
                </a:solidFill>
                <a:latin typeface="Calibri"/>
                <a:cs typeface="Calibri"/>
              </a:rPr>
              <a:t>Additional Program Details (cont.)</a:t>
            </a:r>
            <a:endParaRPr lang="en-US" sz="3600">
              <a:solidFill>
                <a:srgbClr val="00597C"/>
              </a:solidFill>
            </a:endParaRP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0</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1" y="880774"/>
            <a:ext cx="10635916" cy="461665"/>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400" b="1">
                <a:solidFill>
                  <a:schemeClr val="bg1"/>
                </a:solidFill>
                <a:latin typeface="Calibri"/>
                <a:cs typeface="Calibri"/>
              </a:rPr>
              <a:t>FORFEITURE, REDUCTION, AND/OR RECAPTURE OF THE TAX CREDIT (yrs 6-10) </a:t>
            </a:r>
          </a:p>
        </p:txBody>
      </p:sp>
      <p:sp>
        <p:nvSpPr>
          <p:cNvPr id="4" name="TextBox 3">
            <a:extLst>
              <a:ext uri="{FF2B5EF4-FFF2-40B4-BE49-F238E27FC236}">
                <a16:creationId xmlns:a16="http://schemas.microsoft.com/office/drawing/2014/main" id="{E8FED121-C8EA-4618-8F81-9C9A95DC09AF}"/>
              </a:ext>
            </a:extLst>
          </p:cNvPr>
          <p:cNvSpPr txBox="1"/>
          <p:nvPr/>
        </p:nvSpPr>
        <p:spPr>
          <a:xfrm>
            <a:off x="131280" y="1668354"/>
            <a:ext cx="11929439" cy="4308872"/>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200" b="1">
                <a:solidFill>
                  <a:srgbClr val="000000"/>
                </a:solidFill>
                <a:latin typeface="Calibri"/>
                <a:cs typeface="Calibri"/>
              </a:rPr>
              <a:t>Statutory Requirement: </a:t>
            </a:r>
            <a:r>
              <a:rPr lang="en-US" sz="2200">
                <a:latin typeface="Calibri"/>
                <a:cs typeface="Calibri"/>
              </a:rPr>
              <a:t>Failure of the eligible business to meet any program criteria shall constitute a default and shall result in the recapture of all or part of the tax credit awarded.</a:t>
            </a:r>
            <a:endParaRPr lang="en-US" sz="2200">
              <a:solidFill>
                <a:srgbClr val="000000"/>
              </a:solidFill>
              <a:highlight>
                <a:srgbClr val="FFFF00"/>
              </a:highlight>
              <a:latin typeface="Calibri" panose="020F0502020204030204" pitchFamily="34" charset="0"/>
              <a:cs typeface="Calibri" panose="020F0502020204030204" pitchFamily="34" charset="0"/>
            </a:endParaRPr>
          </a:p>
          <a:p>
            <a:pPr marL="0" lvl="1">
              <a:spcBef>
                <a:spcPts val="1200"/>
              </a:spcBef>
              <a:buClr>
                <a:schemeClr val="accent2"/>
              </a:buClr>
            </a:pPr>
            <a:r>
              <a:rPr lang="en-US" sz="2200" b="1">
                <a:solidFill>
                  <a:srgbClr val="000000"/>
                </a:solidFill>
                <a:latin typeface="Calibri"/>
                <a:cs typeface="Calibri"/>
              </a:rPr>
              <a:t>Proposed Rules: </a:t>
            </a:r>
          </a:p>
          <a:p>
            <a:pPr marL="342900" indent="-342900" algn="l" rtl="0" fontAlgn="base">
              <a:buClr>
                <a:srgbClr val="84BD00"/>
              </a:buClr>
              <a:buFont typeface="System Font Regular"/>
              <a:buChar char="►"/>
            </a:pPr>
            <a:r>
              <a:rPr lang="en-US" sz="2200">
                <a:solidFill>
                  <a:srgbClr val="000000"/>
                </a:solidFill>
                <a:latin typeface="Calibri"/>
                <a:cs typeface="Calibri"/>
              </a:rPr>
              <a:t>If all or part of a tax credit sold or assigned is subject to recapture, the Authority shall pursue recapture from the eligible business and not from the purchaser or assignee of the tax credit transfer certificate.</a:t>
            </a:r>
          </a:p>
          <a:p>
            <a:pPr marL="342900" indent="-342900" algn="l" rtl="0" fontAlgn="base">
              <a:buClr>
                <a:srgbClr val="84BD00"/>
              </a:buClr>
              <a:buFont typeface="System Font Regular"/>
              <a:buChar char="►"/>
            </a:pPr>
            <a:endParaRPr lang="en-US" sz="2200">
              <a:latin typeface="Calibri" panose="020F0502020204030204" pitchFamily="34" charset="0"/>
              <a:cs typeface="Calibri" panose="020F0502020204030204" pitchFamily="34" charset="0"/>
            </a:endParaRPr>
          </a:p>
          <a:p>
            <a:pPr marL="342900" indent="-342900" fontAlgn="base">
              <a:buClr>
                <a:srgbClr val="84BD00"/>
              </a:buClr>
              <a:buFont typeface="System Font Regular"/>
              <a:buChar char="►"/>
            </a:pPr>
            <a:r>
              <a:rPr lang="en-US" sz="2200">
                <a:latin typeface="Calibri"/>
                <a:cs typeface="Calibri"/>
              </a:rPr>
              <a:t>The Authority may recapture all or part of a tax credit awarded if an eligible business does not remain in compliance with any other requirements of the program and/or the project agreement for the duration of the commitment period. Failure of the eligible business to meet any program criteria shall constitute a default and shall result in the recapture of all or part of the tax </a:t>
            </a:r>
            <a:r>
              <a:rPr lang="en-US" sz="2200">
                <a:solidFill>
                  <a:srgbClr val="000000"/>
                </a:solidFill>
                <a:latin typeface="Calibri"/>
                <a:cs typeface="Calibri"/>
              </a:rPr>
              <a:t>credit awarded</a:t>
            </a:r>
          </a:p>
          <a:p>
            <a:pPr marL="285750" indent="-285750" algn="l" rtl="0" fontAlgn="base">
              <a:buClr>
                <a:srgbClr val="84BD00"/>
              </a:buClr>
              <a:buFont typeface="System Font Regular"/>
              <a:buChar char="►"/>
            </a:pPr>
            <a:endParaRPr lang="en-US" sz="1400">
              <a:solidFill>
                <a:srgbClr val="000000"/>
              </a:solidFill>
              <a:latin typeface="Segoe UI" panose="020B0502040204020203" pitchFamily="34" charset="0"/>
            </a:endParaRPr>
          </a:p>
          <a:p>
            <a:endParaRPr lang="en-US" sz="800" b="1">
              <a:solidFill>
                <a:srgbClr val="000000"/>
              </a:solidFill>
              <a:highlight>
                <a:srgbClr val="FFFF00"/>
              </a:highlight>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FA7B2CE-932C-3EC8-1010-3B6F57B73027}"/>
              </a:ext>
            </a:extLst>
          </p:cNvPr>
          <p:cNvSpPr/>
          <p:nvPr/>
        </p:nvSpPr>
        <p:spPr>
          <a:xfrm flipV="1">
            <a:off x="0" y="1538491"/>
            <a:ext cx="12234612" cy="931857"/>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5" name="AutoShape 10">
            <a:extLst>
              <a:ext uri="{FF2B5EF4-FFF2-40B4-BE49-F238E27FC236}">
                <a16:creationId xmlns:a16="http://schemas.microsoft.com/office/drawing/2014/main" id="{B55E9153-9593-47EB-0B21-CEE9346FCD35}"/>
              </a:ext>
            </a:extLst>
          </p:cNvPr>
          <p:cNvSpPr/>
          <p:nvPr/>
        </p:nvSpPr>
        <p:spPr>
          <a:xfrm>
            <a:off x="685800"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6" name="AutoShape 11">
            <a:extLst>
              <a:ext uri="{FF2B5EF4-FFF2-40B4-BE49-F238E27FC236}">
                <a16:creationId xmlns:a16="http://schemas.microsoft.com/office/drawing/2014/main" id="{61096EFF-427D-8EF8-1102-43C3E6451CDC}"/>
              </a:ext>
            </a:extLst>
          </p:cNvPr>
          <p:cNvSpPr/>
          <p:nvPr/>
        </p:nvSpPr>
        <p:spPr>
          <a:xfrm>
            <a:off x="6096000"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grpSp>
        <p:nvGrpSpPr>
          <p:cNvPr id="7" name="Group 6">
            <a:extLst>
              <a:ext uri="{FF2B5EF4-FFF2-40B4-BE49-F238E27FC236}">
                <a16:creationId xmlns:a16="http://schemas.microsoft.com/office/drawing/2014/main" id="{B7F66156-B67D-40B5-74C7-E813F75780F6}"/>
              </a:ext>
            </a:extLst>
          </p:cNvPr>
          <p:cNvGrpSpPr/>
          <p:nvPr/>
        </p:nvGrpSpPr>
        <p:grpSpPr>
          <a:xfrm>
            <a:off x="9968911" y="5899336"/>
            <a:ext cx="1896852" cy="861934"/>
            <a:chOff x="9968911" y="5899336"/>
            <a:chExt cx="1896852" cy="861934"/>
          </a:xfrm>
        </p:grpSpPr>
        <p:sp>
          <p:nvSpPr>
            <p:cNvPr id="9" name="Rectangle 8">
              <a:extLst>
                <a:ext uri="{FF2B5EF4-FFF2-40B4-BE49-F238E27FC236}">
                  <a16:creationId xmlns:a16="http://schemas.microsoft.com/office/drawing/2014/main" id="{4A3B7D53-BD51-7904-A686-7B5AEF461684}"/>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A2939452-5CF3-4D95-3A0B-0691664E27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Tree>
    <p:extLst>
      <p:ext uri="{BB962C8B-B14F-4D97-AF65-F5344CB8AC3E}">
        <p14:creationId xmlns:p14="http://schemas.microsoft.com/office/powerpoint/2010/main" val="3521265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30893" y="326804"/>
            <a:ext cx="10515600" cy="553520"/>
          </a:xfrm>
        </p:spPr>
        <p:txBody>
          <a:bodyPr anchor="t">
            <a:normAutofit/>
          </a:bodyPr>
          <a:lstStyle/>
          <a:p>
            <a:r>
              <a:rPr lang="en-US" sz="3600">
                <a:solidFill>
                  <a:srgbClr val="00597C"/>
                </a:solidFill>
                <a:latin typeface="Calibri"/>
                <a:cs typeface="Calibri"/>
              </a:rPr>
              <a:t>Additional Program Details (cont.)</a:t>
            </a:r>
            <a:endParaRPr lang="en-US" sz="3600">
              <a:solidFill>
                <a:srgbClr val="00597C"/>
              </a:solidFill>
            </a:endParaRP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1</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976265"/>
            <a:ext cx="1829957" cy="523220"/>
          </a:xfrm>
          <a:prstGeom prst="homePlate">
            <a:avLst/>
          </a:prstGeom>
          <a:solidFill>
            <a:srgbClr val="00597C"/>
          </a:solidFill>
          <a:effectLst>
            <a:innerShdw dist="50800" dir="2700000">
              <a:schemeClr val="accent2"/>
            </a:innerShdw>
          </a:effectLst>
        </p:spPr>
        <p:txBody>
          <a:bodyPr wrap="square" lIns="182880" rIns="182880" anchor="ctr">
            <a:spAutoFit/>
          </a:bodyPr>
          <a:lstStyle/>
          <a:p>
            <a:pPr marL="0" lvl="1">
              <a:spcBef>
                <a:spcPts val="1200"/>
              </a:spcBef>
              <a:buClr>
                <a:schemeClr val="accent2"/>
              </a:buClr>
            </a:pPr>
            <a:r>
              <a:rPr lang="en-US" sz="2800" b="1">
                <a:solidFill>
                  <a:schemeClr val="bg1"/>
                </a:solidFill>
                <a:latin typeface="Calibri" panose="020F0502020204030204" pitchFamily="34" charset="0"/>
                <a:cs typeface="Calibri" panose="020F0502020204030204" pitchFamily="34" charset="0"/>
              </a:rPr>
              <a:t>Affiliates</a:t>
            </a:r>
          </a:p>
        </p:txBody>
      </p:sp>
      <p:sp>
        <p:nvSpPr>
          <p:cNvPr id="4" name="TextBox 3">
            <a:extLst>
              <a:ext uri="{FF2B5EF4-FFF2-40B4-BE49-F238E27FC236}">
                <a16:creationId xmlns:a16="http://schemas.microsoft.com/office/drawing/2014/main" id="{E8FED121-C8EA-4618-8F81-9C9A95DC09AF}"/>
              </a:ext>
            </a:extLst>
          </p:cNvPr>
          <p:cNvSpPr txBox="1"/>
          <p:nvPr/>
        </p:nvSpPr>
        <p:spPr>
          <a:xfrm>
            <a:off x="59872" y="1652776"/>
            <a:ext cx="11929439" cy="4462760"/>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200" b="1">
                <a:latin typeface="Calibri"/>
                <a:cs typeface="Calibri"/>
              </a:rPr>
              <a:t>Statutory Requirement: </a:t>
            </a:r>
            <a:r>
              <a:rPr lang="en-US" sz="2200">
                <a:latin typeface="Calibri"/>
                <a:cs typeface="Calibri"/>
              </a:rPr>
              <a:t>An affiliate of an eligible business may contribute towards the capital investment and eligible position requirements and may satisfy the requirement for site control during construction and the eligibility period, but in no event shall the tax credit certificate be issued to an affiliate. </a:t>
            </a:r>
            <a:endParaRPr lang="en-US" sz="2200" b="1">
              <a:latin typeface="Calibri"/>
              <a:cs typeface="Calibri"/>
            </a:endParaRPr>
          </a:p>
          <a:p>
            <a:pPr marL="0" lvl="1">
              <a:spcBef>
                <a:spcPts val="1200"/>
              </a:spcBef>
              <a:buClr>
                <a:schemeClr val="accent2"/>
              </a:buClr>
            </a:pPr>
            <a:r>
              <a:rPr lang="en-US" sz="2200" b="1">
                <a:latin typeface="Calibri"/>
                <a:cs typeface="Calibri"/>
              </a:rPr>
              <a:t>Affiliates </a:t>
            </a:r>
            <a:r>
              <a:rPr lang="en-US" sz="2200">
                <a:latin typeface="Calibri"/>
                <a:cs typeface="Calibri"/>
              </a:rPr>
              <a:t>means an entity that directly or indirectly controls, is under common control with, or is controlled by an eligible business. Control exists in all cases in which the entity is a member of a controlled group of corporations as defined pursuant to section 1563 of the federal Internal Revenue Code (26 U.S.C. s.1563) or the entity is an organization in a group of organizations under common control that is subject to the regulations applicable to organizations pursuant to subsection (b) or (c) of section 414 of the federal Internal Revenue Code (26 U.S.C. s.414).</a:t>
            </a:r>
          </a:p>
          <a:p>
            <a:pPr marL="0" lvl="1">
              <a:spcBef>
                <a:spcPts val="1200"/>
              </a:spcBef>
              <a:buClr>
                <a:schemeClr val="accent2"/>
              </a:buClr>
            </a:pPr>
            <a:r>
              <a:rPr lang="en-US" sz="2200" b="1">
                <a:latin typeface="Calibri"/>
                <a:cs typeface="Calibri"/>
              </a:rPr>
              <a:t>Proposed Rules: </a:t>
            </a:r>
          </a:p>
          <a:p>
            <a:pPr marL="285750" indent="-285750" algn="l" rtl="0" fontAlgn="base">
              <a:buFont typeface="Arial" panose="020B0604020202020204" pitchFamily="34" charset="0"/>
              <a:buChar char="•"/>
            </a:pPr>
            <a:r>
              <a:rPr lang="en-US" sz="2200">
                <a:latin typeface="Calibri"/>
                <a:cs typeface="Calibri"/>
              </a:rPr>
              <a:t>Evidence of affiliation requires an opinion of counsel or a CPA letter. </a:t>
            </a:r>
            <a:endParaRPr lang="en-US" sz="2200" b="1">
              <a:latin typeface="Calibri"/>
              <a:cs typeface="Calibri"/>
            </a:endParaRPr>
          </a:p>
        </p:txBody>
      </p:sp>
      <p:sp>
        <p:nvSpPr>
          <p:cNvPr id="3" name="Rectangle 2">
            <a:extLst>
              <a:ext uri="{FF2B5EF4-FFF2-40B4-BE49-F238E27FC236}">
                <a16:creationId xmlns:a16="http://schemas.microsoft.com/office/drawing/2014/main" id="{6FA7B2CE-932C-3EC8-1010-3B6F57B73027}"/>
              </a:ext>
            </a:extLst>
          </p:cNvPr>
          <p:cNvSpPr/>
          <p:nvPr/>
        </p:nvSpPr>
        <p:spPr>
          <a:xfrm flipV="1">
            <a:off x="19385" y="1707460"/>
            <a:ext cx="12127929" cy="1457391"/>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grpSp>
        <p:nvGrpSpPr>
          <p:cNvPr id="5" name="Group 4">
            <a:extLst>
              <a:ext uri="{FF2B5EF4-FFF2-40B4-BE49-F238E27FC236}">
                <a16:creationId xmlns:a16="http://schemas.microsoft.com/office/drawing/2014/main" id="{8B248529-A4A2-8BB6-6D6E-86940ECFDCE1}"/>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D4468E20-D47E-25BB-2B0A-97A6682B8E8B}"/>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289A1ECC-BD35-D336-DF89-B6B56F93B9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9" name="AutoShape 11">
            <a:extLst>
              <a:ext uri="{FF2B5EF4-FFF2-40B4-BE49-F238E27FC236}">
                <a16:creationId xmlns:a16="http://schemas.microsoft.com/office/drawing/2014/main" id="{DBBDE8F2-6894-A910-A3B4-D22EC8C0D2C6}"/>
              </a:ext>
            </a:extLst>
          </p:cNvPr>
          <p:cNvSpPr/>
          <p:nvPr/>
        </p:nvSpPr>
        <p:spPr>
          <a:xfrm>
            <a:off x="5974149" y="880324"/>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0" name="AutoShape 10">
            <a:extLst>
              <a:ext uri="{FF2B5EF4-FFF2-40B4-BE49-F238E27FC236}">
                <a16:creationId xmlns:a16="http://schemas.microsoft.com/office/drawing/2014/main" id="{BAD09457-2B02-5D70-1272-4ABF97AFD048}"/>
              </a:ext>
            </a:extLst>
          </p:cNvPr>
          <p:cNvSpPr/>
          <p:nvPr/>
        </p:nvSpPr>
        <p:spPr>
          <a:xfrm>
            <a:off x="563949" y="880324"/>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16666948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721063" y="219638"/>
            <a:ext cx="10515600" cy="553520"/>
          </a:xfrm>
        </p:spPr>
        <p:txBody>
          <a:bodyPr anchor="t">
            <a:normAutofit/>
          </a:bodyPr>
          <a:lstStyle/>
          <a:p>
            <a:r>
              <a:rPr lang="en-US" sz="3600">
                <a:solidFill>
                  <a:srgbClr val="00597C"/>
                </a:solidFill>
              </a:rPr>
              <a:t>Capital Investment</a:t>
            </a: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2</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998225"/>
            <a:ext cx="6275183"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Included in Eligible Capital Investment</a:t>
            </a:r>
          </a:p>
        </p:txBody>
      </p:sp>
      <p:sp>
        <p:nvSpPr>
          <p:cNvPr id="4" name="TextBox 3">
            <a:extLst>
              <a:ext uri="{FF2B5EF4-FFF2-40B4-BE49-F238E27FC236}">
                <a16:creationId xmlns:a16="http://schemas.microsoft.com/office/drawing/2014/main" id="{E8FED121-C8EA-4618-8F81-9C9A95DC09AF}"/>
              </a:ext>
            </a:extLst>
          </p:cNvPr>
          <p:cNvSpPr txBox="1"/>
          <p:nvPr/>
        </p:nvSpPr>
        <p:spPr>
          <a:xfrm>
            <a:off x="102094" y="1652777"/>
            <a:ext cx="11753538" cy="4739759"/>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200" b="1">
                <a:solidFill>
                  <a:srgbClr val="000000"/>
                </a:solidFill>
                <a:latin typeface="Calibri"/>
                <a:cs typeface="Calibri"/>
              </a:rPr>
              <a:t>Statutory Requirement: </a:t>
            </a:r>
            <a:r>
              <a:rPr lang="en-US" sz="2200">
                <a:solidFill>
                  <a:srgbClr val="FF0000"/>
                </a:solidFill>
                <a:latin typeface="Calibri"/>
                <a:cs typeface="Calibri"/>
              </a:rPr>
              <a:t> </a:t>
            </a:r>
            <a:endParaRPr lang="en-US" sz="2200">
              <a:solidFill>
                <a:srgbClr val="000000"/>
              </a:solidFill>
              <a:latin typeface="Calibri"/>
              <a:cs typeface="Calibri"/>
            </a:endParaRPr>
          </a:p>
          <a:p>
            <a:pPr marL="0" lvl="1">
              <a:spcBef>
                <a:spcPts val="1200"/>
              </a:spcBef>
              <a:buClr>
                <a:schemeClr val="accent2"/>
              </a:buClr>
            </a:pPr>
            <a:r>
              <a:rPr lang="en-US" sz="2200" b="1">
                <a:latin typeface="Calibri"/>
                <a:cs typeface="Calibri"/>
              </a:rPr>
              <a:t>Capital investment</a:t>
            </a:r>
            <a:r>
              <a:rPr lang="en-US" sz="2200">
                <a:latin typeface="Calibri"/>
                <a:cs typeface="Calibri"/>
              </a:rPr>
              <a:t> means expenses that a business or an affiliate of the business incurs, or is incurred on behalf of the business or affiliate by its landlord, following its submission of an application to the authority pursuant to N.J.S.A. 34:1B-398, but prior to the project completion date, as shall be defined in the project agreement, for: site preparation and construction, repair, renovation, improvement, equipping, or furnishing on real property or of a building, structure, facility, or improvement to real property; obtaining and installing furnishings and machinery, apparatus, or equipment, including, but not limited to, computer systems, hardware, software, and equipment and material goods subject to bonus depreciation under sections 168 and 179 of the federal Internal Revenue Code (26 U.S.C. ss.168 and 179), for the operation of a business on real property or in a building, structure, facility, or improvement to real property; or any combination of the foregoing.</a:t>
            </a:r>
            <a:endParaRPr lang="en-US" sz="2000" b="1">
              <a:solidFill>
                <a:srgbClr val="000000"/>
              </a:solidFill>
              <a:latin typeface="Calibri"/>
              <a:cs typeface="Calibri"/>
            </a:endParaRPr>
          </a:p>
          <a:p>
            <a:pPr marL="0" lvl="1">
              <a:spcBef>
                <a:spcPts val="1200"/>
              </a:spcBef>
              <a:buClr>
                <a:schemeClr val="accent2"/>
              </a:buClr>
            </a:pPr>
            <a:endParaRPr lang="en-US" sz="1600" b="1">
              <a:latin typeface="Calibri"/>
              <a:cs typeface="Calibri"/>
            </a:endParaRPr>
          </a:p>
          <a:p>
            <a:endParaRPr lang="en-US" sz="1600">
              <a:solidFill>
                <a:srgbClr val="FF0000"/>
              </a:solidFill>
              <a:latin typeface="Calibri" panose="020F0502020204030204" pitchFamily="34" charset="0"/>
              <a:cs typeface="Calibri" panose="020F0502020204030204" pitchFamily="34" charset="0"/>
            </a:endParaRPr>
          </a:p>
          <a:p>
            <a:endParaRPr lang="en-US" sz="800" b="1">
              <a:solidFill>
                <a:srgbClr val="000000"/>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FA7B2CE-932C-3EC8-1010-3B6F57B73027}"/>
              </a:ext>
            </a:extLst>
          </p:cNvPr>
          <p:cNvSpPr/>
          <p:nvPr/>
        </p:nvSpPr>
        <p:spPr>
          <a:xfrm flipV="1">
            <a:off x="5462" y="1649456"/>
            <a:ext cx="12117529" cy="3947647"/>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grpSp>
        <p:nvGrpSpPr>
          <p:cNvPr id="7" name="Group 6">
            <a:extLst>
              <a:ext uri="{FF2B5EF4-FFF2-40B4-BE49-F238E27FC236}">
                <a16:creationId xmlns:a16="http://schemas.microsoft.com/office/drawing/2014/main" id="{2C555AA7-C7EC-1114-D62E-46F03DA1068E}"/>
              </a:ext>
            </a:extLst>
          </p:cNvPr>
          <p:cNvGrpSpPr/>
          <p:nvPr/>
        </p:nvGrpSpPr>
        <p:grpSpPr>
          <a:xfrm>
            <a:off x="9968911" y="5899336"/>
            <a:ext cx="1896852" cy="861934"/>
            <a:chOff x="9968911" y="5899336"/>
            <a:chExt cx="1896852" cy="861934"/>
          </a:xfrm>
        </p:grpSpPr>
        <p:sp>
          <p:nvSpPr>
            <p:cNvPr id="9" name="Rectangle 8">
              <a:extLst>
                <a:ext uri="{FF2B5EF4-FFF2-40B4-BE49-F238E27FC236}">
                  <a16:creationId xmlns:a16="http://schemas.microsoft.com/office/drawing/2014/main" id="{48FDC7DE-68D7-BA0D-6932-58751DB9EDA1}"/>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43E31CCC-E745-D3A8-7C13-9BF582B52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1" name="AutoShape 10">
            <a:extLst>
              <a:ext uri="{FF2B5EF4-FFF2-40B4-BE49-F238E27FC236}">
                <a16:creationId xmlns:a16="http://schemas.microsoft.com/office/drawing/2014/main" id="{9EA604B9-4F3F-1CC6-85DC-01D9739091E1}"/>
              </a:ext>
            </a:extLst>
          </p:cNvPr>
          <p:cNvSpPr/>
          <p:nvPr/>
        </p:nvSpPr>
        <p:spPr>
          <a:xfrm>
            <a:off x="685800"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2" name="AutoShape 11">
            <a:extLst>
              <a:ext uri="{FF2B5EF4-FFF2-40B4-BE49-F238E27FC236}">
                <a16:creationId xmlns:a16="http://schemas.microsoft.com/office/drawing/2014/main" id="{1476214A-1889-CA26-B647-459D6B0B0262}"/>
              </a:ext>
            </a:extLst>
          </p:cNvPr>
          <p:cNvSpPr/>
          <p:nvPr/>
        </p:nvSpPr>
        <p:spPr>
          <a:xfrm>
            <a:off x="6096000"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843911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99257" y="200774"/>
            <a:ext cx="10515600" cy="553520"/>
          </a:xfrm>
        </p:spPr>
        <p:txBody>
          <a:bodyPr anchor="t">
            <a:normAutofit/>
          </a:bodyPr>
          <a:lstStyle/>
          <a:p>
            <a:r>
              <a:rPr lang="en-US" sz="3600">
                <a:solidFill>
                  <a:srgbClr val="00597C"/>
                </a:solidFill>
                <a:latin typeface="Calibri"/>
                <a:cs typeface="Calibri"/>
              </a:rPr>
              <a:t>Capital Investment cont.</a:t>
            </a:r>
            <a:endParaRPr lang="en-US" sz="3600">
              <a:solidFill>
                <a:srgbClr val="00597C"/>
              </a:solidFill>
            </a:endParaRP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3</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960674"/>
            <a:ext cx="6275183"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Included in Eligible Capital Investment</a:t>
            </a:r>
          </a:p>
        </p:txBody>
      </p:sp>
      <p:sp>
        <p:nvSpPr>
          <p:cNvPr id="4" name="TextBox 3">
            <a:extLst>
              <a:ext uri="{FF2B5EF4-FFF2-40B4-BE49-F238E27FC236}">
                <a16:creationId xmlns:a16="http://schemas.microsoft.com/office/drawing/2014/main" id="{E8FED121-C8EA-4618-8F81-9C9A95DC09AF}"/>
              </a:ext>
            </a:extLst>
          </p:cNvPr>
          <p:cNvSpPr txBox="1"/>
          <p:nvPr/>
        </p:nvSpPr>
        <p:spPr>
          <a:xfrm>
            <a:off x="102094" y="1471806"/>
            <a:ext cx="12030034" cy="4785926"/>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000" b="1">
                <a:solidFill>
                  <a:srgbClr val="000000"/>
                </a:solidFill>
                <a:latin typeface="Calibri"/>
                <a:cs typeface="Calibri"/>
              </a:rPr>
              <a:t>Proposed Rules: </a:t>
            </a:r>
            <a:endParaRPr lang="en-US" b="1">
              <a:solidFill>
                <a:srgbClr val="FF0000"/>
              </a:solidFill>
              <a:latin typeface="Calibri"/>
              <a:cs typeface="Calibri"/>
            </a:endParaRPr>
          </a:p>
          <a:p>
            <a:pPr marL="0" lvl="1">
              <a:spcBef>
                <a:spcPts val="1200"/>
              </a:spcBef>
              <a:buClr>
                <a:schemeClr val="accent2"/>
              </a:buClr>
            </a:pPr>
            <a:r>
              <a:rPr lang="en-US" sz="1700">
                <a:latin typeface="Calibri"/>
                <a:cs typeface="Calibri"/>
              </a:rPr>
              <a:t>Site preparation and construction, repair, renovation, improvement, equipping, or furnishing on real property or of a building, structure, facility, or improvement to real property, including security systems such as surveillance camera, access control systems, and secure entry points to protect the physical infrastructure, site-related utility, including, but not limited to, water, electric, sewer, and stormwater; and transportation infrastructure improvements, plantings, solar panels and components, energy storage components, installation costs of solar energy systems, or other environmental components required to attain the minimum environmental and sustainability standards established by the Authority in accordance with the green building manual prepared by the Commissioner of Community Affairs. </a:t>
            </a:r>
          </a:p>
          <a:p>
            <a:pPr marL="0" lvl="1">
              <a:spcBef>
                <a:spcPts val="1200"/>
              </a:spcBef>
              <a:buClr>
                <a:schemeClr val="accent2"/>
              </a:buClr>
            </a:pPr>
            <a:r>
              <a:rPr lang="en-US" sz="1700">
                <a:latin typeface="Calibri"/>
                <a:cs typeface="Calibri"/>
              </a:rPr>
              <a:t>Site-related connectivity and telecommunications installation costs, including, but not limited to, fiber optic cables; energy power generation, including energy storage components, distributed storage systems, redundant power supplies, backup generators and uninterruptible power supplies (UPS); and advanced cooling technologies, such as liquid cooling or HVAC systems, to manage the heat generated by high-performance computing equipment;  </a:t>
            </a:r>
          </a:p>
          <a:p>
            <a:pPr marL="0" lvl="1" fontAlgn="base">
              <a:spcBef>
                <a:spcPts val="1200"/>
              </a:spcBef>
              <a:buClr>
                <a:schemeClr val="accent2"/>
              </a:buClr>
            </a:pPr>
            <a:r>
              <a:rPr lang="en-US" sz="1700">
                <a:latin typeface="Calibri"/>
                <a:cs typeface="Calibri"/>
              </a:rPr>
              <a:t>Obtaining and installing computer systems, hardware, and equipment, and for the initial, but not ongoing, operation of a business on real property or in a building, structure, facility, or improvement to real property. Capital investment shall include the value of a capital lease, as defined by generally accepted accounting practices (GAAP), of furnishings and machinery, apparatus, or equipment, based on the shorter of the useful life of the leased property or the commitment period; </a:t>
            </a:r>
            <a:endParaRPr lang="en-US" sz="1700">
              <a:solidFill>
                <a:srgbClr val="FF0000"/>
              </a:solidFill>
              <a:latin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4C5364EC-CE36-1599-0872-015272F5BB03}"/>
              </a:ext>
            </a:extLst>
          </p:cNvPr>
          <p:cNvGrpSpPr/>
          <p:nvPr/>
        </p:nvGrpSpPr>
        <p:grpSpPr>
          <a:xfrm>
            <a:off x="10424520" y="6126182"/>
            <a:ext cx="1310058" cy="595293"/>
            <a:chOff x="9968911" y="5899336"/>
            <a:chExt cx="1896852" cy="861934"/>
          </a:xfrm>
        </p:grpSpPr>
        <p:sp>
          <p:nvSpPr>
            <p:cNvPr id="20" name="Rectangle 19">
              <a:extLst>
                <a:ext uri="{FF2B5EF4-FFF2-40B4-BE49-F238E27FC236}">
                  <a16:creationId xmlns:a16="http://schemas.microsoft.com/office/drawing/2014/main" id="{4BE73886-7B16-84AD-21EA-FBE67DF3F16C}"/>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Icon&#10;&#10;Description automatically generated">
              <a:extLst>
                <a:ext uri="{FF2B5EF4-FFF2-40B4-BE49-F238E27FC236}">
                  <a16:creationId xmlns:a16="http://schemas.microsoft.com/office/drawing/2014/main" id="{C3C7D35F-EC96-7279-D121-640477EC5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22" name="AutoShape 10">
            <a:extLst>
              <a:ext uri="{FF2B5EF4-FFF2-40B4-BE49-F238E27FC236}">
                <a16:creationId xmlns:a16="http://schemas.microsoft.com/office/drawing/2014/main" id="{CC659295-BABC-949E-D4A3-A0D92684D9AE}"/>
              </a:ext>
            </a:extLst>
          </p:cNvPr>
          <p:cNvSpPr/>
          <p:nvPr/>
        </p:nvSpPr>
        <p:spPr>
          <a:xfrm>
            <a:off x="685800"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23" name="AutoShape 11">
            <a:extLst>
              <a:ext uri="{FF2B5EF4-FFF2-40B4-BE49-F238E27FC236}">
                <a16:creationId xmlns:a16="http://schemas.microsoft.com/office/drawing/2014/main" id="{87FAF2E0-94B6-963C-D019-5BB4D2D0D1DB}"/>
              </a:ext>
            </a:extLst>
          </p:cNvPr>
          <p:cNvSpPr/>
          <p:nvPr/>
        </p:nvSpPr>
        <p:spPr>
          <a:xfrm>
            <a:off x="6096000"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4856927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85800" y="169549"/>
            <a:ext cx="10515600" cy="553520"/>
          </a:xfrm>
        </p:spPr>
        <p:txBody>
          <a:bodyPr anchor="t">
            <a:normAutofit/>
          </a:bodyPr>
          <a:lstStyle/>
          <a:p>
            <a:r>
              <a:rPr lang="en-US" sz="3600">
                <a:solidFill>
                  <a:srgbClr val="00597C"/>
                </a:solidFill>
              </a:rPr>
              <a:t>Capital Investment</a:t>
            </a: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4</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962966"/>
            <a:ext cx="5000002"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Soft Costs (including software)</a:t>
            </a:r>
          </a:p>
        </p:txBody>
      </p:sp>
      <p:sp>
        <p:nvSpPr>
          <p:cNvPr id="4" name="TextBox 3">
            <a:extLst>
              <a:ext uri="{FF2B5EF4-FFF2-40B4-BE49-F238E27FC236}">
                <a16:creationId xmlns:a16="http://schemas.microsoft.com/office/drawing/2014/main" id="{E8FED121-C8EA-4618-8F81-9C9A95DC09AF}"/>
              </a:ext>
            </a:extLst>
          </p:cNvPr>
          <p:cNvSpPr txBox="1"/>
          <p:nvPr/>
        </p:nvSpPr>
        <p:spPr>
          <a:xfrm>
            <a:off x="87983" y="1680999"/>
            <a:ext cx="11767649" cy="3323987"/>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000" b="1">
                <a:solidFill>
                  <a:srgbClr val="000000"/>
                </a:solidFill>
                <a:latin typeface="Calibri"/>
                <a:cs typeface="Calibri"/>
              </a:rPr>
              <a:t>Statutory Requirement: </a:t>
            </a:r>
            <a:r>
              <a:rPr lang="en-US" sz="2000">
                <a:solidFill>
                  <a:srgbClr val="FF0000"/>
                </a:solidFill>
                <a:latin typeface="Calibri"/>
                <a:cs typeface="Calibri"/>
              </a:rPr>
              <a:t> </a:t>
            </a:r>
            <a:endParaRPr lang="en-US" sz="2000">
              <a:solidFill>
                <a:srgbClr val="000000"/>
              </a:solidFill>
              <a:latin typeface="Calibri"/>
              <a:cs typeface="Calibri"/>
            </a:endParaRPr>
          </a:p>
          <a:p>
            <a:pPr marL="0" lvl="1">
              <a:spcBef>
                <a:spcPts val="1200"/>
              </a:spcBef>
              <a:buClr>
                <a:schemeClr val="accent2"/>
              </a:buClr>
            </a:pPr>
            <a:r>
              <a:rPr lang="en-US" sz="2000" b="1">
                <a:latin typeface="Calibri"/>
                <a:cs typeface="Calibri"/>
              </a:rPr>
              <a:t>Capital investment</a:t>
            </a:r>
            <a:r>
              <a:rPr lang="en-US" sz="2000">
                <a:latin typeface="Calibri"/>
                <a:cs typeface="Calibri"/>
              </a:rPr>
              <a:t> means expenses that a business or an affiliate of the business incurs, or is incurred on behalf of the business or affiliate by its landlord, following its submission of an application to the authority pursuant to N.J.S.A. 34:1B-398, but prior to the project completion date, as shall be defined in the project agreement, for: site preparation and construction, repair, renovation, improvement, equipping, or furnishing on real property or of a building, structure, facility, or improvement to real property; obtaining and installing furnishings and machinery, apparatus, or equipment, including, but not limited to, computer systems, hardware, software, and equipment and material goods subject to bonus depreciation under sections 168 and 179 of the federal Internal Revenue Code (26 U.S.C. ss.168 and 179), for the operation of a business on real property or in a building, structure, facility, or improvement to real property; or any combination of the foregoing.</a:t>
            </a:r>
            <a:endParaRPr lang="en-US" sz="2000" b="1">
              <a:solidFill>
                <a:srgbClr val="000000"/>
              </a:solidFill>
              <a:latin typeface="Calibri"/>
              <a:cs typeface="Calibri"/>
            </a:endParaRPr>
          </a:p>
        </p:txBody>
      </p:sp>
      <p:sp>
        <p:nvSpPr>
          <p:cNvPr id="3" name="Rectangle 2">
            <a:extLst>
              <a:ext uri="{FF2B5EF4-FFF2-40B4-BE49-F238E27FC236}">
                <a16:creationId xmlns:a16="http://schemas.microsoft.com/office/drawing/2014/main" id="{6FA7B2CE-932C-3EC8-1010-3B6F57B73027}"/>
              </a:ext>
            </a:extLst>
          </p:cNvPr>
          <p:cNvSpPr/>
          <p:nvPr/>
        </p:nvSpPr>
        <p:spPr>
          <a:xfrm flipV="1">
            <a:off x="87982" y="1561636"/>
            <a:ext cx="12104017" cy="3443350"/>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6" name="TextBox 5">
            <a:extLst>
              <a:ext uri="{FF2B5EF4-FFF2-40B4-BE49-F238E27FC236}">
                <a16:creationId xmlns:a16="http://schemas.microsoft.com/office/drawing/2014/main" id="{647965A4-372B-EC6C-6A5D-E4C2276DBC5C}"/>
              </a:ext>
            </a:extLst>
          </p:cNvPr>
          <p:cNvSpPr txBox="1"/>
          <p:nvPr/>
        </p:nvSpPr>
        <p:spPr>
          <a:xfrm>
            <a:off x="87982" y="5124349"/>
            <a:ext cx="10284417" cy="1169551"/>
          </a:xfrm>
          <a:prstGeom prst="rect">
            <a:avLst/>
          </a:prstGeom>
          <a:noFill/>
        </p:spPr>
        <p:txBody>
          <a:bodyPr wrap="square">
            <a:spAutoFit/>
          </a:bodyPr>
          <a:lstStyle/>
          <a:p>
            <a:pPr marL="0" lvl="1">
              <a:spcBef>
                <a:spcPts val="1200"/>
              </a:spcBef>
            </a:pPr>
            <a:r>
              <a:rPr lang="en-US" sz="1800" b="1">
                <a:latin typeface="Calibri"/>
                <a:cs typeface="Calibri"/>
              </a:rPr>
              <a:t>Proposed Rules: </a:t>
            </a:r>
            <a:endParaRPr lang="en-US" sz="1800">
              <a:latin typeface="Calibri"/>
              <a:cs typeface="Arial"/>
            </a:endParaRPr>
          </a:p>
          <a:p>
            <a:pPr marL="0" lvl="1">
              <a:spcBef>
                <a:spcPts val="1200"/>
              </a:spcBef>
            </a:pPr>
            <a:r>
              <a:rPr lang="en-US" sz="1800">
                <a:latin typeface="Calibri"/>
                <a:cs typeface="Times New Roman"/>
              </a:rPr>
              <a:t>Associated soft costs and software, which combined shall not exceed 20 percent of capital investment.</a:t>
            </a:r>
            <a:r>
              <a:rPr lang="en-US" sz="2000">
                <a:latin typeface="Calibri"/>
                <a:cs typeface="Times New Roman"/>
              </a:rPr>
              <a:t> </a:t>
            </a:r>
          </a:p>
          <a:p>
            <a:pPr marL="456565" lvl="1">
              <a:spcBef>
                <a:spcPts val="1200"/>
              </a:spcBef>
              <a:buClr>
                <a:srgbClr val="84BD00"/>
              </a:buClr>
            </a:pPr>
            <a:endParaRPr lang="en-US" sz="1200">
              <a:solidFill>
                <a:srgbClr val="000000"/>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2F144149-B6A6-34C9-DAC7-749A2A0D80BF}"/>
              </a:ext>
            </a:extLst>
          </p:cNvPr>
          <p:cNvGrpSpPr/>
          <p:nvPr/>
        </p:nvGrpSpPr>
        <p:grpSpPr>
          <a:xfrm>
            <a:off x="9968911" y="5899336"/>
            <a:ext cx="1896852" cy="861934"/>
            <a:chOff x="9968911" y="5899336"/>
            <a:chExt cx="1896852" cy="861934"/>
          </a:xfrm>
        </p:grpSpPr>
        <p:sp>
          <p:nvSpPr>
            <p:cNvPr id="9" name="Rectangle 8">
              <a:extLst>
                <a:ext uri="{FF2B5EF4-FFF2-40B4-BE49-F238E27FC236}">
                  <a16:creationId xmlns:a16="http://schemas.microsoft.com/office/drawing/2014/main" id="{75BD080D-26ED-56F0-A5C4-04CD7E993F31}"/>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E8A1FD0B-001D-3A06-D21A-F30873DDEB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2" name="AutoShape 10">
            <a:extLst>
              <a:ext uri="{FF2B5EF4-FFF2-40B4-BE49-F238E27FC236}">
                <a16:creationId xmlns:a16="http://schemas.microsoft.com/office/drawing/2014/main" id="{4071166C-2664-ACC2-6FFE-059747DA1CA9}"/>
              </a:ext>
            </a:extLst>
          </p:cNvPr>
          <p:cNvSpPr/>
          <p:nvPr/>
        </p:nvSpPr>
        <p:spPr>
          <a:xfrm>
            <a:off x="685800" y="754294"/>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3" name="AutoShape 11">
            <a:extLst>
              <a:ext uri="{FF2B5EF4-FFF2-40B4-BE49-F238E27FC236}">
                <a16:creationId xmlns:a16="http://schemas.microsoft.com/office/drawing/2014/main" id="{07BFA153-25CD-5CA6-BEDC-01AF61FD71B2}"/>
              </a:ext>
            </a:extLst>
          </p:cNvPr>
          <p:cNvSpPr/>
          <p:nvPr/>
        </p:nvSpPr>
        <p:spPr>
          <a:xfrm>
            <a:off x="6096000" y="754294"/>
            <a:ext cx="5410200" cy="0"/>
          </a:xfrm>
          <a:prstGeom prst="line">
            <a:avLst/>
          </a:prstGeom>
          <a:ln w="57150" cap="flat">
            <a:solidFill>
              <a:srgbClr val="00597C"/>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1016317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547621" y="332700"/>
            <a:ext cx="10515600" cy="553520"/>
          </a:xfrm>
        </p:spPr>
        <p:txBody>
          <a:bodyPr anchor="t">
            <a:noAutofit/>
          </a:bodyPr>
          <a:lstStyle/>
          <a:p>
            <a:r>
              <a:rPr lang="en-US" sz="3600">
                <a:solidFill>
                  <a:srgbClr val="00597C"/>
                </a:solidFill>
                <a:latin typeface="Calibri"/>
                <a:cs typeface="Calibri"/>
              </a:rPr>
              <a:t> New Jersey Qualified Business Facility </a:t>
            </a:r>
            <a:br>
              <a:rPr lang="en-US" sz="3600"/>
            </a:br>
            <a:endParaRPr lang="en-US" sz="3600">
              <a:solidFill>
                <a:srgbClr val="00597C"/>
              </a:solidFill>
            </a:endParaRPr>
          </a:p>
        </p:txBody>
      </p:sp>
      <p:sp>
        <p:nvSpPr>
          <p:cNvPr id="16" name="Slide Number Placeholder 4">
            <a:extLst>
              <a:ext uri="{FF2B5EF4-FFF2-40B4-BE49-F238E27FC236}">
                <a16:creationId xmlns:a16="http://schemas.microsoft.com/office/drawing/2014/main" id="{C8C5D367-85C2-441B-A654-52615301B21C}"/>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5</a:t>
            </a:fld>
            <a:endParaRPr lang="en-US" sz="1100" b="1">
              <a:solidFill>
                <a:srgbClr val="FFFFFF">
                  <a:lumMod val="65000"/>
                </a:srgbClr>
              </a:solidFill>
              <a:latin typeface="Calibri" panose="020F0502020204030204"/>
            </a:endParaRPr>
          </a:p>
        </p:txBody>
      </p:sp>
      <p:sp>
        <p:nvSpPr>
          <p:cNvPr id="14" name="Arrow: Pentagon 13">
            <a:extLst>
              <a:ext uri="{FF2B5EF4-FFF2-40B4-BE49-F238E27FC236}">
                <a16:creationId xmlns:a16="http://schemas.microsoft.com/office/drawing/2014/main" id="{B0D5C7B9-3CB1-4A62-8D5D-614A5871EB8F}"/>
              </a:ext>
            </a:extLst>
          </p:cNvPr>
          <p:cNvSpPr/>
          <p:nvPr/>
        </p:nvSpPr>
        <p:spPr>
          <a:xfrm>
            <a:off x="0" y="1000644"/>
            <a:ext cx="5248894"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pPr>
            <a:r>
              <a:rPr lang="en-US" sz="2800" b="1">
                <a:solidFill>
                  <a:schemeClr val="bg1"/>
                </a:solidFill>
                <a:latin typeface="Calibri"/>
                <a:cs typeface="Calibri"/>
              </a:rPr>
              <a:t>Qualified Business Facility (QBF)</a:t>
            </a:r>
            <a:endParaRPr lang="en-US">
              <a:solidFill>
                <a:schemeClr val="bg1"/>
              </a:solidFill>
            </a:endParaRPr>
          </a:p>
        </p:txBody>
      </p:sp>
      <p:sp>
        <p:nvSpPr>
          <p:cNvPr id="4" name="TextBox 3">
            <a:extLst>
              <a:ext uri="{FF2B5EF4-FFF2-40B4-BE49-F238E27FC236}">
                <a16:creationId xmlns:a16="http://schemas.microsoft.com/office/drawing/2014/main" id="{E8FED121-C8EA-4618-8F81-9C9A95DC09AF}"/>
              </a:ext>
            </a:extLst>
          </p:cNvPr>
          <p:cNvSpPr txBox="1"/>
          <p:nvPr/>
        </p:nvSpPr>
        <p:spPr>
          <a:xfrm>
            <a:off x="266530" y="1810010"/>
            <a:ext cx="11929439" cy="4247317"/>
          </a:xfrm>
          <a:prstGeom prst="rect">
            <a:avLst/>
          </a:prstGeom>
          <a:noFill/>
        </p:spPr>
        <p:txBody>
          <a:bodyPr wrap="square" lIns="91440" tIns="45720" rIns="91440" bIns="45720" rtlCol="0" anchor="t">
            <a:spAutoFit/>
          </a:bodyPr>
          <a:lstStyle/>
          <a:p>
            <a:pPr marL="0" lvl="1">
              <a:spcBef>
                <a:spcPts val="1200"/>
              </a:spcBef>
              <a:buClr>
                <a:schemeClr val="accent2"/>
              </a:buClr>
            </a:pPr>
            <a:r>
              <a:rPr lang="en-US" sz="2200" b="1">
                <a:solidFill>
                  <a:srgbClr val="000000"/>
                </a:solidFill>
                <a:latin typeface="Calibri"/>
                <a:cs typeface="Calibri"/>
              </a:rPr>
              <a:t>Statutory Requirement: The business entity must maintain the project in New Jersey for duration of 10-year commitment. </a:t>
            </a:r>
          </a:p>
          <a:p>
            <a:pPr marL="0" lvl="1">
              <a:spcBef>
                <a:spcPts val="1200"/>
              </a:spcBef>
              <a:buClr>
                <a:schemeClr val="accent2"/>
              </a:buClr>
            </a:pPr>
            <a:r>
              <a:rPr lang="en-US" sz="2200" b="1">
                <a:solidFill>
                  <a:srgbClr val="000000"/>
                </a:solidFill>
                <a:latin typeface="Calibri"/>
                <a:cs typeface="Calibri"/>
              </a:rPr>
              <a:t>Proposed Rules: </a:t>
            </a:r>
            <a:endParaRPr lang="en-US" sz="2200">
              <a:solidFill>
                <a:srgbClr val="FF0000"/>
              </a:solidFill>
              <a:latin typeface="Calibri"/>
              <a:cs typeface="Calibri"/>
            </a:endParaRPr>
          </a:p>
          <a:p>
            <a:pPr marL="342900" lvl="1" indent="-342900">
              <a:spcBef>
                <a:spcPts val="1200"/>
              </a:spcBef>
              <a:buClr>
                <a:srgbClr val="84BD00"/>
              </a:buClr>
              <a:buFont typeface="System Font Regular"/>
              <a:buChar char="►"/>
            </a:pPr>
            <a:r>
              <a:rPr lang="en-US" sz="2200">
                <a:solidFill>
                  <a:srgbClr val="000000"/>
                </a:solidFill>
                <a:latin typeface="Calibri"/>
                <a:cs typeface="Calibri"/>
              </a:rPr>
              <a:t>Projects will be allowed to lease up to 5% of the qualified business facility. </a:t>
            </a:r>
            <a:endParaRPr lang="en-US" sz="2200">
              <a:solidFill>
                <a:srgbClr val="FF0000"/>
              </a:solidFill>
              <a:latin typeface="Calibri"/>
              <a:cs typeface="Calibri"/>
            </a:endParaRPr>
          </a:p>
          <a:p>
            <a:pPr marL="342900" lvl="1" indent="-342900">
              <a:spcBef>
                <a:spcPts val="1200"/>
              </a:spcBef>
              <a:buClr>
                <a:srgbClr val="84BD00"/>
              </a:buClr>
              <a:buFont typeface="System Font Regular"/>
              <a:buChar char="►"/>
            </a:pPr>
            <a:r>
              <a:rPr lang="en-US" sz="2200">
                <a:solidFill>
                  <a:srgbClr val="000000"/>
                </a:solidFill>
                <a:latin typeface="Calibri"/>
                <a:cs typeface="Calibri"/>
              </a:rPr>
              <a:t>Sale of the qualified business facility is not allowed. </a:t>
            </a:r>
            <a:endParaRPr lang="en-US" sz="2200">
              <a:solidFill>
                <a:srgbClr val="FF0000"/>
              </a:solidFill>
              <a:latin typeface="Calibri"/>
              <a:cs typeface="Calibri"/>
            </a:endParaRPr>
          </a:p>
          <a:p>
            <a:endParaRPr lang="en-US" sz="800">
              <a:solidFill>
                <a:srgbClr val="000000"/>
              </a:solidFill>
              <a:latin typeface="Calibri"/>
              <a:cs typeface="Calibri"/>
            </a:endParaRPr>
          </a:p>
          <a:p>
            <a:r>
              <a:rPr lang="en-US" sz="2200" b="1">
                <a:solidFill>
                  <a:srgbClr val="000000"/>
                </a:solidFill>
                <a:latin typeface="Calibri"/>
                <a:cs typeface="Calibri"/>
              </a:rPr>
              <a:t>Maintenance of the project in New Jersey: </a:t>
            </a:r>
          </a:p>
          <a:p>
            <a:r>
              <a:rPr lang="en-US" sz="2200">
                <a:latin typeface="Calibri"/>
                <a:cs typeface="Calibri"/>
              </a:rPr>
              <a:t>Notwithstanding the foregoing, a business may lease or sublease a portion of its qualified business facility to a new tenant that is a quality childcare facility and up to 5% for any other new tenant without forfeiting any of the business's credits, provided that the new tenant's full-time employees and capital investment shall not be included in the business's eligible full-time employees or capital investment.</a:t>
            </a:r>
          </a:p>
          <a:p>
            <a:endParaRPr lang="en-US" sz="1200">
              <a:solidFill>
                <a:srgbClr val="000000"/>
              </a:solidFill>
              <a:highlight>
                <a:srgbClr val="FFFF00"/>
              </a:highlight>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173097E1-12CB-05BD-53B4-6C16F595712F}"/>
              </a:ext>
            </a:extLst>
          </p:cNvPr>
          <p:cNvSpPr/>
          <p:nvPr/>
        </p:nvSpPr>
        <p:spPr>
          <a:xfrm flipV="1">
            <a:off x="266531" y="1770214"/>
            <a:ext cx="11658940" cy="813479"/>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grpSp>
        <p:nvGrpSpPr>
          <p:cNvPr id="3" name="Group 2">
            <a:extLst>
              <a:ext uri="{FF2B5EF4-FFF2-40B4-BE49-F238E27FC236}">
                <a16:creationId xmlns:a16="http://schemas.microsoft.com/office/drawing/2014/main" id="{F085D634-B053-E63C-FE41-902C09543CF7}"/>
              </a:ext>
            </a:extLst>
          </p:cNvPr>
          <p:cNvGrpSpPr/>
          <p:nvPr/>
        </p:nvGrpSpPr>
        <p:grpSpPr>
          <a:xfrm>
            <a:off x="9968911" y="5899336"/>
            <a:ext cx="1896852" cy="861934"/>
            <a:chOff x="9968911" y="5899336"/>
            <a:chExt cx="1896852" cy="861934"/>
          </a:xfrm>
        </p:grpSpPr>
        <p:sp>
          <p:nvSpPr>
            <p:cNvPr id="5" name="Rectangle 4">
              <a:extLst>
                <a:ext uri="{FF2B5EF4-FFF2-40B4-BE49-F238E27FC236}">
                  <a16:creationId xmlns:a16="http://schemas.microsoft.com/office/drawing/2014/main" id="{D49D6366-79A7-AD62-9685-716744197BAF}"/>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CE90CDA0-466E-165B-586C-F9DA7FFC7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9" name="AutoShape 10">
            <a:extLst>
              <a:ext uri="{FF2B5EF4-FFF2-40B4-BE49-F238E27FC236}">
                <a16:creationId xmlns:a16="http://schemas.microsoft.com/office/drawing/2014/main" id="{E4523B83-192D-CC13-A14B-AD22511E80DE}"/>
              </a:ext>
            </a:extLst>
          </p:cNvPr>
          <p:cNvSpPr/>
          <p:nvPr/>
        </p:nvSpPr>
        <p:spPr>
          <a:xfrm>
            <a:off x="547621" y="880324"/>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0" name="AutoShape 11">
            <a:extLst>
              <a:ext uri="{FF2B5EF4-FFF2-40B4-BE49-F238E27FC236}">
                <a16:creationId xmlns:a16="http://schemas.microsoft.com/office/drawing/2014/main" id="{F436001A-A61E-EAEF-99E2-02B8D982A4B9}"/>
              </a:ext>
            </a:extLst>
          </p:cNvPr>
          <p:cNvSpPr/>
          <p:nvPr/>
        </p:nvSpPr>
        <p:spPr>
          <a:xfrm>
            <a:off x="5957821" y="880324"/>
            <a:ext cx="5410200" cy="0"/>
          </a:xfrm>
          <a:prstGeom prst="line">
            <a:avLst/>
          </a:prstGeom>
          <a:ln w="57150" cap="flat">
            <a:solidFill>
              <a:srgbClr val="00597C"/>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3849043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9DE670-C300-4A13-BEEB-3C129B11B3A3}"/>
              </a:ext>
            </a:extLst>
          </p:cNvPr>
          <p:cNvSpPr/>
          <p:nvPr/>
        </p:nvSpPr>
        <p:spPr>
          <a:xfrm>
            <a:off x="210268" y="5171078"/>
            <a:ext cx="9872744" cy="1686922"/>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defRPr/>
            </a:pPr>
            <a:r>
              <a:rPr lang="en-US" sz="1600">
                <a:solidFill>
                  <a:srgbClr val="000000"/>
                </a:solidFill>
                <a:latin typeface="Calibri"/>
                <a:cs typeface="Calibri"/>
              </a:rPr>
              <a:t>"Minimum environmental and sustainability standards” means standards established by the Authority in accordance with the green building manual prepared by the Commissioner of the Department of Community Affairs, regarding the use of renewable energy, energy-efficient technology, and non-renewable resources to reduce environmental degradation and encourage long-term cost reduction. The Authority shall publish these standards on its website.</a:t>
            </a:r>
            <a:r>
              <a:rPr lang="en-US" sz="1600">
                <a:solidFill>
                  <a:srgbClr val="000000"/>
                </a:solidFill>
                <a:latin typeface="Calibri"/>
                <a:ea typeface="+mn-lt"/>
                <a:cs typeface="Calibri"/>
              </a:rPr>
              <a:t> </a:t>
            </a:r>
            <a:r>
              <a:rPr lang="en-US" sz="1600">
                <a:solidFill>
                  <a:srgbClr val="000000"/>
                </a:solidFill>
                <a:latin typeface="Calibri"/>
                <a:ea typeface="+mn-lt"/>
                <a:cs typeface="+mn-lt"/>
              </a:rPr>
              <a:t>The highlighted programs are the ones currently featured in the Green Building manual. Based on research gathered, I believe we should continue to focus on these programs while excluding others. However, we may give consideration to the inclusion of Envision for campus-type projects that involve infrastructure and multiple buildings.</a:t>
            </a:r>
            <a:endParaRPr lang="en-US" sz="1600">
              <a:solidFill>
                <a:srgbClr val="000000"/>
              </a:solidFill>
              <a:latin typeface="Calibri"/>
              <a:cs typeface="Calibri"/>
            </a:endParaRPr>
          </a:p>
          <a:p>
            <a:pPr marL="0" marR="0" lvl="0" indent="0" algn="l" defTabSz="914341" rtl="0" eaLnBrk="1" fontAlgn="auto" latinLnBrk="0" hangingPunct="1">
              <a:lnSpc>
                <a:spcPct val="100000"/>
              </a:lnSpc>
              <a:spcBef>
                <a:spcPts val="0"/>
              </a:spcBef>
              <a:spcAft>
                <a:spcPts val="0"/>
              </a:spcAft>
              <a:buClrTx/>
              <a:buSzTx/>
              <a:buFontTx/>
              <a:buNone/>
              <a:tabLst/>
              <a:defRPr/>
            </a:pPr>
            <a:endParaRPr lang="en-US" sz="2800">
              <a:solidFill>
                <a:srgbClr val="000000"/>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989ACF28-D871-4646-BE8B-59DA95DB9674}"/>
              </a:ext>
            </a:extLst>
          </p:cNvPr>
          <p:cNvSpPr>
            <a:spLocks noGrp="1"/>
          </p:cNvSpPr>
          <p:nvPr>
            <p:ph type="title"/>
          </p:nvPr>
        </p:nvSpPr>
        <p:spPr>
          <a:xfrm>
            <a:off x="604108" y="342752"/>
            <a:ext cx="10515600" cy="553520"/>
          </a:xfrm>
        </p:spPr>
        <p:txBody>
          <a:bodyPr anchor="t">
            <a:normAutofit/>
          </a:bodyPr>
          <a:lstStyle/>
          <a:p>
            <a:r>
              <a:rPr lang="en-US" sz="3600">
                <a:solidFill>
                  <a:srgbClr val="00597C"/>
                </a:solidFill>
                <a:latin typeface="Calibri"/>
                <a:cs typeface="Calibri"/>
              </a:rPr>
              <a:t>Green Building Standards</a:t>
            </a:r>
          </a:p>
        </p:txBody>
      </p:sp>
      <p:sp>
        <p:nvSpPr>
          <p:cNvPr id="20" name="Arrow: Pentagon 19">
            <a:extLst>
              <a:ext uri="{FF2B5EF4-FFF2-40B4-BE49-F238E27FC236}">
                <a16:creationId xmlns:a16="http://schemas.microsoft.com/office/drawing/2014/main" id="{EE174440-2BFB-4BA0-8146-ECD86B0E871A}"/>
              </a:ext>
            </a:extLst>
          </p:cNvPr>
          <p:cNvSpPr/>
          <p:nvPr/>
        </p:nvSpPr>
        <p:spPr>
          <a:xfrm>
            <a:off x="0" y="1027509"/>
            <a:ext cx="8723086" cy="523220"/>
          </a:xfrm>
          <a:prstGeom prst="homePlate">
            <a:avLst/>
          </a:prstGeom>
          <a:solidFill>
            <a:srgbClr val="00597C"/>
          </a:solidFill>
          <a:effectLst>
            <a:innerShdw dist="50800" dir="2700000">
              <a:schemeClr val="accent2"/>
            </a:innerShdw>
          </a:effectLst>
        </p:spPr>
        <p:txBody>
          <a:bodyPr wrap="square" lIns="182880" tIns="45720" rIns="182880" bIns="45720" anchor="ctr">
            <a:spAutoFit/>
          </a:bodyPr>
          <a:lstStyle/>
          <a:p>
            <a:pPr marL="0" lvl="1">
              <a:spcBef>
                <a:spcPts val="1200"/>
              </a:spcBef>
              <a:buClr>
                <a:schemeClr val="accent2"/>
              </a:buClr>
            </a:pPr>
            <a:r>
              <a:rPr lang="en-US" sz="2800" b="1">
                <a:solidFill>
                  <a:schemeClr val="bg1"/>
                </a:solidFill>
                <a:latin typeface="Calibri"/>
                <a:cs typeface="Calibri"/>
              </a:rPr>
              <a:t>Minimum Environmental and Sustainability Standards</a:t>
            </a:r>
          </a:p>
        </p:txBody>
      </p:sp>
      <p:sp>
        <p:nvSpPr>
          <p:cNvPr id="14" name="Slide Number Placeholder 4">
            <a:extLst>
              <a:ext uri="{FF2B5EF4-FFF2-40B4-BE49-F238E27FC236}">
                <a16:creationId xmlns:a16="http://schemas.microsoft.com/office/drawing/2014/main" id="{2AEA03C6-22E2-41FA-A126-B8E880FD6EF7}"/>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solidFill>
                  <a:srgbClr val="FFFFFF">
                    <a:lumMod val="65000"/>
                  </a:srgbClr>
                </a:solidFill>
                <a:latin typeface="Calibri" panose="020F0502020204030204"/>
              </a:rPr>
              <a:pPr/>
              <a:t>26</a:t>
            </a:fld>
            <a:endParaRPr lang="en-US" sz="1100" b="1">
              <a:solidFill>
                <a:srgbClr val="FFFFFF">
                  <a:lumMod val="65000"/>
                </a:srgbClr>
              </a:solidFill>
              <a:latin typeface="Calibri" panose="020F0502020204030204"/>
            </a:endParaRPr>
          </a:p>
        </p:txBody>
      </p:sp>
      <p:sp>
        <p:nvSpPr>
          <p:cNvPr id="3" name="TextBox 2">
            <a:extLst>
              <a:ext uri="{FF2B5EF4-FFF2-40B4-BE49-F238E27FC236}">
                <a16:creationId xmlns:a16="http://schemas.microsoft.com/office/drawing/2014/main" id="{9F83EA7B-2EB6-7203-4CF6-46A05D3B81BA}"/>
              </a:ext>
            </a:extLst>
          </p:cNvPr>
          <p:cNvSpPr txBox="1"/>
          <p:nvPr/>
        </p:nvSpPr>
        <p:spPr>
          <a:xfrm>
            <a:off x="217879" y="1550729"/>
            <a:ext cx="11750899" cy="1323439"/>
          </a:xfrm>
          <a:prstGeom prst="rect">
            <a:avLst/>
          </a:prstGeom>
          <a:noFill/>
        </p:spPr>
        <p:txBody>
          <a:bodyPr wrap="square" lIns="91440" tIns="45720" rIns="91440" bIns="45720" rtlCol="0" anchor="t">
            <a:spAutoFit/>
          </a:bodyPr>
          <a:lstStyle/>
          <a:p>
            <a:pPr rtl="0"/>
            <a:r>
              <a:rPr lang="en-US" sz="2000">
                <a:latin typeface="Calibri"/>
                <a:cs typeface="Calibri"/>
              </a:rPr>
              <a:t>The proposed appendix to the NJEDA Green Building Manual would outline </a:t>
            </a:r>
            <a:r>
              <a:rPr lang="en-US" sz="2000" b="1">
                <a:latin typeface="Calibri"/>
                <a:cs typeface="Calibri"/>
              </a:rPr>
              <a:t>acceptable green construction standards</a:t>
            </a:r>
            <a:r>
              <a:rPr lang="en-US" sz="2000">
                <a:latin typeface="Calibri"/>
                <a:cs typeface="Calibri"/>
              </a:rPr>
              <a:t> widely recognized in the industry. To comply with minimum environmental and sustainability standards, a qualified business would, within </a:t>
            </a:r>
            <a:r>
              <a:rPr lang="en-US" sz="2000" b="1">
                <a:latin typeface="Calibri"/>
                <a:cs typeface="Calibri"/>
              </a:rPr>
              <a:t>two years</a:t>
            </a:r>
            <a:r>
              <a:rPr lang="en-US" sz="2000">
                <a:latin typeface="Calibri"/>
                <a:cs typeface="Calibri"/>
              </a:rPr>
              <a:t> of service, be required to certify compliance under one or more of the following green building standards:</a:t>
            </a:r>
          </a:p>
        </p:txBody>
      </p:sp>
      <p:sp>
        <p:nvSpPr>
          <p:cNvPr id="4" name="AutoShape 10">
            <a:extLst>
              <a:ext uri="{FF2B5EF4-FFF2-40B4-BE49-F238E27FC236}">
                <a16:creationId xmlns:a16="http://schemas.microsoft.com/office/drawing/2014/main" id="{35951E92-A554-74E9-A640-9E3308EBA03C}"/>
              </a:ext>
            </a:extLst>
          </p:cNvPr>
          <p:cNvSpPr/>
          <p:nvPr/>
        </p:nvSpPr>
        <p:spPr>
          <a:xfrm>
            <a:off x="562136" y="923867"/>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5" name="AutoShape 11">
            <a:extLst>
              <a:ext uri="{FF2B5EF4-FFF2-40B4-BE49-F238E27FC236}">
                <a16:creationId xmlns:a16="http://schemas.microsoft.com/office/drawing/2014/main" id="{5C9A6079-B525-D47E-A95E-B0AA2991CAAE}"/>
              </a:ext>
            </a:extLst>
          </p:cNvPr>
          <p:cNvSpPr/>
          <p:nvPr/>
        </p:nvSpPr>
        <p:spPr>
          <a:xfrm>
            <a:off x="5972336" y="923867"/>
            <a:ext cx="5410200" cy="0"/>
          </a:xfrm>
          <a:prstGeom prst="line">
            <a:avLst/>
          </a:prstGeom>
          <a:ln w="57150" cap="flat">
            <a:solidFill>
              <a:srgbClr val="00597C"/>
            </a:solidFill>
            <a:prstDash val="solid"/>
            <a:headEnd type="none" w="sm" len="sm"/>
            <a:tailEnd type="none" w="sm" len="sm"/>
          </a:ln>
        </p:spPr>
        <p:txBody>
          <a:bodyPr/>
          <a:lstStyle/>
          <a:p>
            <a:endParaRPr lang="en-US"/>
          </a:p>
        </p:txBody>
      </p:sp>
      <p:grpSp>
        <p:nvGrpSpPr>
          <p:cNvPr id="6" name="Group 5">
            <a:extLst>
              <a:ext uri="{FF2B5EF4-FFF2-40B4-BE49-F238E27FC236}">
                <a16:creationId xmlns:a16="http://schemas.microsoft.com/office/drawing/2014/main" id="{17FDC5B6-AD6B-269B-779A-C1B775BCBC59}"/>
              </a:ext>
            </a:extLst>
          </p:cNvPr>
          <p:cNvGrpSpPr/>
          <p:nvPr/>
        </p:nvGrpSpPr>
        <p:grpSpPr>
          <a:xfrm>
            <a:off x="9968911" y="5899336"/>
            <a:ext cx="1896852" cy="861934"/>
            <a:chOff x="9968911" y="5899336"/>
            <a:chExt cx="1896852" cy="861934"/>
          </a:xfrm>
        </p:grpSpPr>
        <p:sp>
          <p:nvSpPr>
            <p:cNvPr id="7" name="Rectangle 6">
              <a:extLst>
                <a:ext uri="{FF2B5EF4-FFF2-40B4-BE49-F238E27FC236}">
                  <a16:creationId xmlns:a16="http://schemas.microsoft.com/office/drawing/2014/main" id="{AB29D4D6-FBE3-ADA9-43A6-C17091716295}"/>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8FF07345-8A9E-5BDF-87B0-A20CB6D5EB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2" name="TextBox 11">
            <a:extLst>
              <a:ext uri="{FF2B5EF4-FFF2-40B4-BE49-F238E27FC236}">
                <a16:creationId xmlns:a16="http://schemas.microsoft.com/office/drawing/2014/main" id="{0D4347BA-D7EA-BE9A-2E1F-4D8F5170F889}"/>
              </a:ext>
            </a:extLst>
          </p:cNvPr>
          <p:cNvSpPr txBox="1"/>
          <p:nvPr/>
        </p:nvSpPr>
        <p:spPr>
          <a:xfrm>
            <a:off x="998119" y="2874168"/>
            <a:ext cx="9116887" cy="2031325"/>
          </a:xfrm>
          <a:prstGeom prst="rect">
            <a:avLst/>
          </a:prstGeom>
          <a:noFill/>
        </p:spPr>
        <p:txBody>
          <a:bodyPr wrap="square" lIns="91440" tIns="45720" rIns="91440" bIns="45720" anchor="t">
            <a:spAutoFit/>
          </a:bodyPr>
          <a:lstStyle/>
          <a:p>
            <a:pPr marL="1656715" lvl="3" indent="-285750" rtl="0">
              <a:buClr>
                <a:srgbClr val="84BD00"/>
              </a:buClr>
              <a:buFont typeface="System Font Regular"/>
              <a:buChar char="►"/>
            </a:pPr>
            <a:r>
              <a:rPr lang="en-US" sz="1800" b="1">
                <a:solidFill>
                  <a:srgbClr val="00597C"/>
                </a:solidFill>
                <a:latin typeface="Calibri"/>
                <a:cs typeface="Calibri"/>
              </a:rPr>
              <a:t>BREEAM for New Construction or In-Use</a:t>
            </a:r>
          </a:p>
          <a:p>
            <a:pPr marL="1656715" lvl="3" indent="-285750" rtl="0">
              <a:buClr>
                <a:srgbClr val="84BD00"/>
              </a:buClr>
              <a:buFont typeface="System Font Regular"/>
              <a:buChar char="►"/>
            </a:pPr>
            <a:r>
              <a:rPr lang="en-US" sz="1800" b="1">
                <a:solidFill>
                  <a:srgbClr val="00597C"/>
                </a:solidFill>
                <a:highlight>
                  <a:srgbClr val="FFFF00"/>
                </a:highlight>
                <a:latin typeface="Calibri"/>
                <a:cs typeface="Calibri"/>
              </a:rPr>
              <a:t>ENERGY STAR</a:t>
            </a:r>
          </a:p>
          <a:p>
            <a:pPr marL="1656715" lvl="3" indent="-285750" rtl="0">
              <a:buClr>
                <a:srgbClr val="84BD00"/>
              </a:buClr>
              <a:buFont typeface="System Font Regular"/>
              <a:buChar char="►"/>
            </a:pPr>
            <a:r>
              <a:rPr lang="en-US" sz="1800" b="1">
                <a:solidFill>
                  <a:srgbClr val="00597C"/>
                </a:solidFill>
                <a:latin typeface="Calibri"/>
                <a:cs typeface="Calibri"/>
              </a:rPr>
              <a:t>Envision</a:t>
            </a:r>
          </a:p>
          <a:p>
            <a:pPr marL="1656715" lvl="3" indent="-285750" rtl="0">
              <a:buClr>
                <a:srgbClr val="84BD00"/>
              </a:buClr>
              <a:buFont typeface="System Font Regular"/>
              <a:buChar char="►"/>
            </a:pPr>
            <a:r>
              <a:rPr lang="en-US" sz="1800" b="1">
                <a:solidFill>
                  <a:srgbClr val="00597C"/>
                </a:solidFill>
                <a:latin typeface="Calibri"/>
                <a:cs typeface="Calibri"/>
              </a:rPr>
              <a:t>ISO 50001 – Energy Management</a:t>
            </a:r>
          </a:p>
          <a:p>
            <a:pPr marL="1656715" lvl="3" indent="-285750" rtl="0">
              <a:buClr>
                <a:srgbClr val="84BD00"/>
              </a:buClr>
              <a:buFont typeface="System Font Regular"/>
              <a:buChar char="►"/>
            </a:pPr>
            <a:r>
              <a:rPr lang="en-US" sz="1800" b="1">
                <a:solidFill>
                  <a:srgbClr val="00597C"/>
                </a:solidFill>
                <a:highlight>
                  <a:srgbClr val="FFFF00"/>
                </a:highlight>
                <a:latin typeface="Calibri"/>
                <a:cs typeface="Calibri"/>
              </a:rPr>
              <a:t>LEED for Building Design and Construction or Operations and Maintenance</a:t>
            </a:r>
          </a:p>
          <a:p>
            <a:pPr marL="1656715" lvl="3" indent="-285750" rtl="0">
              <a:buClr>
                <a:srgbClr val="84BD00"/>
              </a:buClr>
              <a:buFont typeface="System Font Regular"/>
              <a:buChar char="►"/>
            </a:pPr>
            <a:r>
              <a:rPr lang="en-US" sz="1800" b="1">
                <a:solidFill>
                  <a:srgbClr val="00597C"/>
                </a:solidFill>
                <a:latin typeface="Calibri"/>
                <a:cs typeface="Calibri"/>
              </a:rPr>
              <a:t>Green Globes for New Construction or Existing Buildings</a:t>
            </a:r>
          </a:p>
          <a:p>
            <a:pPr marL="1656715" lvl="3" indent="-285750">
              <a:buClr>
                <a:srgbClr val="84BD00"/>
              </a:buClr>
              <a:buFont typeface="System Font Regular"/>
              <a:buChar char="►"/>
            </a:pPr>
            <a:r>
              <a:rPr lang="en-US" sz="1800" b="1">
                <a:solidFill>
                  <a:srgbClr val="00597C"/>
                </a:solidFill>
                <a:highlight>
                  <a:srgbClr val="FFFF00"/>
                </a:highlight>
                <a:latin typeface="Calibri"/>
                <a:cs typeface="Calibri"/>
              </a:rPr>
              <a:t>ASHRAE Energy Standards for Data Centers</a:t>
            </a:r>
          </a:p>
        </p:txBody>
      </p:sp>
    </p:spTree>
    <p:extLst>
      <p:ext uri="{BB962C8B-B14F-4D97-AF65-F5344CB8AC3E}">
        <p14:creationId xmlns:p14="http://schemas.microsoft.com/office/powerpoint/2010/main" val="40498074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948C8-D1B0-443F-921E-6F3E646F5FFA}"/>
              </a:ext>
            </a:extLst>
          </p:cNvPr>
          <p:cNvSpPr>
            <a:spLocks noGrp="1"/>
          </p:cNvSpPr>
          <p:nvPr>
            <p:ph type="title"/>
          </p:nvPr>
        </p:nvSpPr>
        <p:spPr>
          <a:xfrm>
            <a:off x="576464" y="298415"/>
            <a:ext cx="11289299" cy="548498"/>
          </a:xfrm>
        </p:spPr>
        <p:txBody>
          <a:bodyPr anchor="t">
            <a:noAutofit/>
          </a:bodyPr>
          <a:lstStyle/>
          <a:p>
            <a:r>
              <a:rPr lang="en-US" sz="3600">
                <a:solidFill>
                  <a:srgbClr val="00597C"/>
                </a:solidFill>
                <a:latin typeface="Calibri"/>
                <a:cs typeface="Calibri"/>
              </a:rPr>
              <a:t>Next NJ Program-AI Fees </a:t>
            </a:r>
          </a:p>
        </p:txBody>
      </p:sp>
      <p:sp>
        <p:nvSpPr>
          <p:cNvPr id="10" name="Arrow: Pentagon 9">
            <a:extLst>
              <a:ext uri="{FF2B5EF4-FFF2-40B4-BE49-F238E27FC236}">
                <a16:creationId xmlns:a16="http://schemas.microsoft.com/office/drawing/2014/main" id="{164562E4-7D81-402F-A726-6668CF696C75}"/>
              </a:ext>
            </a:extLst>
          </p:cNvPr>
          <p:cNvSpPr/>
          <p:nvPr/>
        </p:nvSpPr>
        <p:spPr>
          <a:xfrm>
            <a:off x="0" y="1075635"/>
            <a:ext cx="1925842" cy="523220"/>
          </a:xfrm>
          <a:prstGeom prst="homePlate">
            <a:avLst/>
          </a:prstGeom>
          <a:solidFill>
            <a:srgbClr val="00597C"/>
          </a:solidFill>
          <a:effectLst>
            <a:innerShdw dist="50800" dir="2700000">
              <a:schemeClr val="accent2"/>
            </a:innerShdw>
          </a:effectLst>
        </p:spPr>
        <p:txBody>
          <a:bodyPr wrap="square" lIns="182880" tIns="45720" rIns="182880" bIns="45720" anchor="t">
            <a:spAutoFit/>
          </a:bodyPr>
          <a:lstStyle/>
          <a:p>
            <a:pPr marL="0" marR="0" lvl="1" indent="0" algn="l" defTabSz="914341" rtl="0" eaLnBrk="1" fontAlgn="auto" latinLnBrk="0" hangingPunct="1">
              <a:lnSpc>
                <a:spcPct val="100000"/>
              </a:lnSpc>
              <a:spcBef>
                <a:spcPts val="1200"/>
              </a:spcBef>
              <a:spcAft>
                <a:spcPts val="0"/>
              </a:spcAft>
              <a:buClr>
                <a:srgbClr val="84BD00"/>
              </a:buClr>
              <a:buSzTx/>
              <a:buFontTx/>
              <a:buNone/>
              <a:tabLst/>
              <a:defRPr/>
            </a:pPr>
            <a:r>
              <a:rPr lang="en-US" sz="2800" b="1">
                <a:solidFill>
                  <a:srgbClr val="FFFFFF"/>
                </a:solidFill>
                <a:latin typeface="Calibri"/>
                <a:cs typeface="Calibri"/>
              </a:rPr>
              <a:t>Fee Chart</a:t>
            </a:r>
          </a:p>
        </p:txBody>
      </p:sp>
      <p:sp>
        <p:nvSpPr>
          <p:cNvPr id="6" name="Slide Number Placeholder 4">
            <a:extLst>
              <a:ext uri="{FF2B5EF4-FFF2-40B4-BE49-F238E27FC236}">
                <a16:creationId xmlns:a16="http://schemas.microsoft.com/office/drawing/2014/main" id="{E799F2AE-E16A-4B1B-A558-E7166183D958}"/>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fld id="{6358EE78-369A-4A83-91BE-CE1CDBA0BAF0}" type="slidenum">
              <a:rPr lang="en-US" sz="1100" b="1">
                <a:solidFill>
                  <a:srgbClr val="FFFFFF">
                    <a:lumMod val="65000"/>
                  </a:srgbClr>
                </a:solidFill>
                <a:latin typeface="Calibri" panose="020F0502020204030204"/>
              </a:rPr>
              <a:pPr marL="0" marR="0" lvl="0" indent="0" algn="r" defTabSz="914341" rtl="0" eaLnBrk="1" fontAlgn="auto" latinLnBrk="0" hangingPunct="1">
                <a:lnSpc>
                  <a:spcPct val="100000"/>
                </a:lnSpc>
                <a:spcBef>
                  <a:spcPts val="0"/>
                </a:spcBef>
                <a:spcAft>
                  <a:spcPts val="0"/>
                </a:spcAft>
                <a:buClrTx/>
                <a:buSzTx/>
                <a:buFontTx/>
                <a:buNone/>
                <a:tabLst/>
                <a:defRPr/>
              </a:pPr>
              <a:t>27</a:t>
            </a:fld>
            <a:endParaRPr lang="en-US" sz="1100" b="1">
              <a:solidFill>
                <a:srgbClr val="FFFFFF">
                  <a:lumMod val="65000"/>
                </a:srgbClr>
              </a:solidFill>
              <a:latin typeface="Calibri" panose="020F0502020204030204"/>
            </a:endParaRPr>
          </a:p>
        </p:txBody>
      </p:sp>
      <p:pic>
        <p:nvPicPr>
          <p:cNvPr id="3" name="Picture 2">
            <a:extLst>
              <a:ext uri="{FF2B5EF4-FFF2-40B4-BE49-F238E27FC236}">
                <a16:creationId xmlns:a16="http://schemas.microsoft.com/office/drawing/2014/main" id="{218E4A14-7CF0-A4EC-2E57-064C13AF234E}"/>
              </a:ext>
            </a:extLst>
          </p:cNvPr>
          <p:cNvPicPr>
            <a:picLocks noChangeAspect="1"/>
          </p:cNvPicPr>
          <p:nvPr/>
        </p:nvPicPr>
        <p:blipFill>
          <a:blip r:embed="rId3"/>
          <a:stretch>
            <a:fillRect/>
          </a:stretch>
        </p:blipFill>
        <p:spPr>
          <a:xfrm>
            <a:off x="2622847" y="1077777"/>
            <a:ext cx="7023798" cy="5735665"/>
          </a:xfrm>
          <a:prstGeom prst="rect">
            <a:avLst/>
          </a:prstGeom>
        </p:spPr>
      </p:pic>
      <p:sp>
        <p:nvSpPr>
          <p:cNvPr id="8" name="AutoShape 10">
            <a:extLst>
              <a:ext uri="{FF2B5EF4-FFF2-40B4-BE49-F238E27FC236}">
                <a16:creationId xmlns:a16="http://schemas.microsoft.com/office/drawing/2014/main" id="{A1C14803-CF7C-04D6-246B-BFC7FE7EB2B6}"/>
              </a:ext>
            </a:extLst>
          </p:cNvPr>
          <p:cNvSpPr/>
          <p:nvPr/>
        </p:nvSpPr>
        <p:spPr>
          <a:xfrm>
            <a:off x="562136" y="923867"/>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1" name="AutoShape 11">
            <a:extLst>
              <a:ext uri="{FF2B5EF4-FFF2-40B4-BE49-F238E27FC236}">
                <a16:creationId xmlns:a16="http://schemas.microsoft.com/office/drawing/2014/main" id="{3BBE72F9-A80A-6840-D503-B05DF7BD1BCD}"/>
              </a:ext>
            </a:extLst>
          </p:cNvPr>
          <p:cNvSpPr/>
          <p:nvPr/>
        </p:nvSpPr>
        <p:spPr>
          <a:xfrm>
            <a:off x="5972336" y="923867"/>
            <a:ext cx="5410200" cy="0"/>
          </a:xfrm>
          <a:prstGeom prst="line">
            <a:avLst/>
          </a:prstGeom>
          <a:ln w="57150" cap="flat">
            <a:solidFill>
              <a:srgbClr val="00597C"/>
            </a:solidFill>
            <a:prstDash val="solid"/>
            <a:headEnd type="none" w="sm" len="sm"/>
            <a:tailEnd type="none" w="sm" len="sm"/>
          </a:ln>
        </p:spPr>
        <p:txBody>
          <a:bodyPr/>
          <a:lstStyle/>
          <a:p>
            <a:endParaRPr lang="en-US"/>
          </a:p>
        </p:txBody>
      </p:sp>
      <p:grpSp>
        <p:nvGrpSpPr>
          <p:cNvPr id="12" name="Group 11">
            <a:extLst>
              <a:ext uri="{FF2B5EF4-FFF2-40B4-BE49-F238E27FC236}">
                <a16:creationId xmlns:a16="http://schemas.microsoft.com/office/drawing/2014/main" id="{01B64A75-CBDF-2451-AF1B-89B1104A559E}"/>
              </a:ext>
            </a:extLst>
          </p:cNvPr>
          <p:cNvGrpSpPr/>
          <p:nvPr/>
        </p:nvGrpSpPr>
        <p:grpSpPr>
          <a:xfrm>
            <a:off x="9968911" y="5899336"/>
            <a:ext cx="1896852" cy="861934"/>
            <a:chOff x="9968911" y="5899336"/>
            <a:chExt cx="1896852" cy="861934"/>
          </a:xfrm>
        </p:grpSpPr>
        <p:sp>
          <p:nvSpPr>
            <p:cNvPr id="13" name="Rectangle 12">
              <a:extLst>
                <a:ext uri="{FF2B5EF4-FFF2-40B4-BE49-F238E27FC236}">
                  <a16:creationId xmlns:a16="http://schemas.microsoft.com/office/drawing/2014/main" id="{DDD42163-401C-0875-8BEE-39A1A80C1967}"/>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Icon&#10;&#10;Description automatically generated">
              <a:extLst>
                <a:ext uri="{FF2B5EF4-FFF2-40B4-BE49-F238E27FC236}">
                  <a16:creationId xmlns:a16="http://schemas.microsoft.com/office/drawing/2014/main" id="{A059A828-5E6D-D52A-3AB7-A741DDC976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Tree>
    <p:extLst>
      <p:ext uri="{BB962C8B-B14F-4D97-AF65-F5344CB8AC3E}">
        <p14:creationId xmlns:p14="http://schemas.microsoft.com/office/powerpoint/2010/main" val="3613173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9DDA87D-F190-0142-A77A-9CD5E5D9571C}"/>
              </a:ext>
            </a:extLst>
          </p:cNvPr>
          <p:cNvSpPr/>
          <p:nvPr/>
        </p:nvSpPr>
        <p:spPr>
          <a:xfrm>
            <a:off x="0" y="1296992"/>
            <a:ext cx="12192000" cy="55610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DF366C8-01C0-0D42-8333-56776FFEBBEE}"/>
              </a:ext>
            </a:extLst>
          </p:cNvPr>
          <p:cNvSpPr/>
          <p:nvPr/>
        </p:nvSpPr>
        <p:spPr>
          <a:xfrm>
            <a:off x="5450027" y="3774826"/>
            <a:ext cx="6860666" cy="1611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96" rtl="0" eaLnBrk="1" fontAlgn="auto" latinLnBrk="0" hangingPunct="1">
              <a:lnSpc>
                <a:spcPct val="100000"/>
              </a:lnSpc>
              <a:spcBef>
                <a:spcPts val="0"/>
              </a:spcBef>
              <a:spcAft>
                <a:spcPts val="0"/>
              </a:spcAft>
              <a:buClrTx/>
              <a:buSzTx/>
              <a:buFontTx/>
              <a:buNone/>
              <a:tabLst/>
              <a:defRPr/>
            </a:pPr>
            <a:endParaRPr lang="en-US" sz="1837">
              <a:solidFill>
                <a:prstClr val="black"/>
              </a:solidFill>
              <a:latin typeface="Calibri Light" panose="020F0302020204030204" pitchFamily="34" charset="0"/>
              <a:cs typeface="Calibri Light" panose="020F0302020204030204" pitchFamily="34" charset="0"/>
            </a:endParaRPr>
          </a:p>
          <a:p>
            <a:pPr marL="0" marR="0" lvl="0" indent="0" algn="l" defTabSz="914396" rtl="0" eaLnBrk="1" fontAlgn="auto" latinLnBrk="0" hangingPunct="1">
              <a:lnSpc>
                <a:spcPct val="100000"/>
              </a:lnSpc>
              <a:spcBef>
                <a:spcPts val="0"/>
              </a:spcBef>
              <a:spcAft>
                <a:spcPts val="0"/>
              </a:spcAft>
              <a:buClrTx/>
              <a:buSzTx/>
              <a:buFontTx/>
              <a:buNone/>
              <a:tabLst/>
              <a:defRPr/>
            </a:pPr>
            <a:endParaRPr lang="en-US" sz="2041">
              <a:solidFill>
                <a:prstClr val="black"/>
              </a:solidFill>
              <a:latin typeface="Calibri Light" panose="020F0302020204030204" pitchFamily="34" charset="0"/>
              <a:cs typeface="Calibri Light" panose="020F0302020204030204" pitchFamily="34" charset="0"/>
            </a:endParaRPr>
          </a:p>
        </p:txBody>
      </p:sp>
      <p:pic>
        <p:nvPicPr>
          <p:cNvPr id="15" name="Picture 14" descr="Cloud Computing with solid fill">
            <a:extLst>
              <a:ext uri="{FF2B5EF4-FFF2-40B4-BE49-F238E27FC236}">
                <a16:creationId xmlns:a16="http://schemas.microsoft.com/office/drawing/2014/main" id="{B670B286-5E84-8742-8B2E-4044098467B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54350" y="258470"/>
            <a:ext cx="790054" cy="790054"/>
          </a:xfrm>
          <a:prstGeom prst="rect">
            <a:avLst/>
          </a:prstGeom>
        </p:spPr>
      </p:pic>
      <p:sp>
        <p:nvSpPr>
          <p:cNvPr id="12" name="Rectangle 11">
            <a:extLst>
              <a:ext uri="{FF2B5EF4-FFF2-40B4-BE49-F238E27FC236}">
                <a16:creationId xmlns:a16="http://schemas.microsoft.com/office/drawing/2014/main" id="{8E636E77-988F-C545-95F4-9B97FA7B3C3D}"/>
              </a:ext>
            </a:extLst>
          </p:cNvPr>
          <p:cNvSpPr/>
          <p:nvPr/>
        </p:nvSpPr>
        <p:spPr>
          <a:xfrm>
            <a:off x="1144404" y="390153"/>
            <a:ext cx="10488904" cy="707886"/>
          </a:xfrm>
          <a:prstGeom prst="rect">
            <a:avLst/>
          </a:prstGeom>
        </p:spPr>
        <p:txBody>
          <a:bodyPr wrap="square">
            <a:sp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r>
              <a:rPr lang="en-US" sz="4000" b="1">
                <a:solidFill>
                  <a:srgbClr val="05597B"/>
                </a:solidFill>
                <a:latin typeface="Calibri" panose="020F0502020204030204"/>
              </a:rPr>
              <a:t>Conclusion </a:t>
            </a:r>
          </a:p>
        </p:txBody>
      </p:sp>
      <p:sp>
        <p:nvSpPr>
          <p:cNvPr id="17" name="Rectangle 16">
            <a:extLst>
              <a:ext uri="{FF2B5EF4-FFF2-40B4-BE49-F238E27FC236}">
                <a16:creationId xmlns:a16="http://schemas.microsoft.com/office/drawing/2014/main" id="{236055C2-2DF2-495A-96F5-6941E6FD6B3E}"/>
              </a:ext>
            </a:extLst>
          </p:cNvPr>
          <p:cNvSpPr/>
          <p:nvPr/>
        </p:nvSpPr>
        <p:spPr>
          <a:xfrm>
            <a:off x="349663" y="651334"/>
            <a:ext cx="11245346" cy="671851"/>
          </a:xfrm>
          <a:prstGeom prst="rect">
            <a:avLst/>
          </a:prstGeom>
        </p:spPr>
        <p:txBody>
          <a:bodyPr wrap="square">
            <a:spAutoFit/>
          </a:bodyPr>
          <a:lstStyle/>
          <a:p>
            <a:pPr marL="0" marR="0" lvl="0" indent="0" algn="l" defTabSz="914396" rtl="0" eaLnBrk="1" fontAlgn="auto" latinLnBrk="0" hangingPunct="1">
              <a:lnSpc>
                <a:spcPct val="150000"/>
              </a:lnSpc>
              <a:spcBef>
                <a:spcPts val="0"/>
              </a:spcBef>
              <a:spcAft>
                <a:spcPts val="0"/>
              </a:spcAft>
              <a:buClrTx/>
              <a:buSzTx/>
              <a:buFontTx/>
              <a:buNone/>
              <a:tabLst/>
              <a:defRPr/>
            </a:pPr>
            <a:r>
              <a:rPr lang="en-US" sz="2800" b="1">
                <a:solidFill>
                  <a:srgbClr val="FFFFFF"/>
                </a:solidFill>
                <a:latin typeface="Calibri" panose="020F0502020204030204" pitchFamily="34" charset="0"/>
                <a:cs typeface="Calibri" panose="020F0502020204030204" pitchFamily="34" charset="0"/>
              </a:rPr>
              <a:t>Benefits to the State</a:t>
            </a:r>
          </a:p>
        </p:txBody>
      </p:sp>
      <p:sp>
        <p:nvSpPr>
          <p:cNvPr id="16" name="TextBox 15">
            <a:extLst>
              <a:ext uri="{FF2B5EF4-FFF2-40B4-BE49-F238E27FC236}">
                <a16:creationId xmlns:a16="http://schemas.microsoft.com/office/drawing/2014/main" id="{ED65859E-C0CC-4076-AF21-A7041BC6149B}"/>
              </a:ext>
            </a:extLst>
          </p:cNvPr>
          <p:cNvSpPr txBox="1"/>
          <p:nvPr/>
        </p:nvSpPr>
        <p:spPr>
          <a:xfrm>
            <a:off x="387962" y="5318736"/>
            <a:ext cx="10413571" cy="707886"/>
          </a:xfrm>
          <a:prstGeom prst="rect">
            <a:avLst/>
          </a:prstGeom>
          <a:noFill/>
        </p:spPr>
        <p:txBody>
          <a:bodyPr wrap="square" rtlCol="0">
            <a:spAutoFit/>
          </a:bodyPr>
          <a:lstStyle/>
          <a:p>
            <a:pPr marL="0" marR="0" lvl="0" indent="0" algn="l" defTabSz="914341"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Calibri" panose="020F0502020204030204"/>
                <a:cs typeface="Arial"/>
              </a:rPr>
              <a:t>Projects are NOT ELIGIBLE if they have already commenced site cleanup, unless they could not have known the extent of contamination.</a:t>
            </a:r>
          </a:p>
        </p:txBody>
      </p:sp>
      <p:pic>
        <p:nvPicPr>
          <p:cNvPr id="14" name="Content Placeholder 13" descr="Data center interior">
            <a:extLst>
              <a:ext uri="{FF2B5EF4-FFF2-40B4-BE49-F238E27FC236}">
                <a16:creationId xmlns:a16="http://schemas.microsoft.com/office/drawing/2014/main" id="{1A4EE9A6-690A-8BA8-D06B-FF5699DE9E66}"/>
              </a:ext>
            </a:extLst>
          </p:cNvPr>
          <p:cNvPicPr>
            <a:picLocks noGrp="1" noChangeAspect="1"/>
          </p:cNvPicPr>
          <p:nvPr>
            <p:ph idx="1"/>
          </p:nvPr>
        </p:nvPicPr>
        <p:blipFill>
          <a:blip r:embed="rId5">
            <a:alphaModFix amt="57000"/>
            <a:extLst>
              <a:ext uri="{28A0092B-C50C-407E-A947-70E740481C1C}">
                <a14:useLocalDpi xmlns:a14="http://schemas.microsoft.com/office/drawing/2010/main" val="0"/>
              </a:ext>
            </a:extLst>
          </a:blip>
          <a:stretch>
            <a:fillRect/>
          </a:stretch>
        </p:blipFill>
        <p:spPr>
          <a:xfrm>
            <a:off x="387962" y="1296992"/>
            <a:ext cx="11454375" cy="5376585"/>
          </a:xfrm>
        </p:spPr>
      </p:pic>
      <p:graphicFrame>
        <p:nvGraphicFramePr>
          <p:cNvPr id="21" name="TextBox 1">
            <a:extLst>
              <a:ext uri="{FF2B5EF4-FFF2-40B4-BE49-F238E27FC236}">
                <a16:creationId xmlns:a16="http://schemas.microsoft.com/office/drawing/2014/main" id="{E9713E1E-8E7D-2AE9-3059-2A182A0B693A}"/>
              </a:ext>
            </a:extLst>
          </p:cNvPr>
          <p:cNvGraphicFramePr/>
          <p:nvPr>
            <p:extLst>
              <p:ext uri="{D42A27DB-BD31-4B8C-83A1-F6EECF244321}">
                <p14:modId xmlns:p14="http://schemas.microsoft.com/office/powerpoint/2010/main" val="1071390372"/>
              </p:ext>
            </p:extLst>
          </p:nvPr>
        </p:nvGraphicFramePr>
        <p:xfrm>
          <a:off x="1677841" y="1470592"/>
          <a:ext cx="8372901" cy="484741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5" name="Group 4">
            <a:extLst>
              <a:ext uri="{FF2B5EF4-FFF2-40B4-BE49-F238E27FC236}">
                <a16:creationId xmlns:a16="http://schemas.microsoft.com/office/drawing/2014/main" id="{2DBCA279-ABA7-C1BC-7576-2ED77C9143F9}"/>
              </a:ext>
            </a:extLst>
          </p:cNvPr>
          <p:cNvGrpSpPr/>
          <p:nvPr/>
        </p:nvGrpSpPr>
        <p:grpSpPr>
          <a:xfrm>
            <a:off x="562136" y="1098039"/>
            <a:ext cx="10820400" cy="0"/>
            <a:chOff x="562136" y="1098039"/>
            <a:chExt cx="10820400" cy="0"/>
          </a:xfrm>
        </p:grpSpPr>
        <p:sp>
          <p:nvSpPr>
            <p:cNvPr id="2" name="AutoShape 10">
              <a:extLst>
                <a:ext uri="{FF2B5EF4-FFF2-40B4-BE49-F238E27FC236}">
                  <a16:creationId xmlns:a16="http://schemas.microsoft.com/office/drawing/2014/main" id="{353FF1F1-E2C2-14CE-5907-F3F5536B39FE}"/>
                </a:ext>
              </a:extLst>
            </p:cNvPr>
            <p:cNvSpPr/>
            <p:nvPr/>
          </p:nvSpPr>
          <p:spPr>
            <a:xfrm>
              <a:off x="562136" y="1098039"/>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3" name="AutoShape 11">
              <a:extLst>
                <a:ext uri="{FF2B5EF4-FFF2-40B4-BE49-F238E27FC236}">
                  <a16:creationId xmlns:a16="http://schemas.microsoft.com/office/drawing/2014/main" id="{CC4F9411-4833-4ABC-B628-1B47A97C4540}"/>
                </a:ext>
              </a:extLst>
            </p:cNvPr>
            <p:cNvSpPr/>
            <p:nvPr/>
          </p:nvSpPr>
          <p:spPr>
            <a:xfrm>
              <a:off x="5972336" y="1098039"/>
              <a:ext cx="5410200" cy="0"/>
            </a:xfrm>
            <a:prstGeom prst="line">
              <a:avLst/>
            </a:prstGeom>
            <a:ln w="57150" cap="flat">
              <a:solidFill>
                <a:schemeClr val="tx1"/>
              </a:solidFill>
              <a:prstDash val="solid"/>
              <a:headEnd type="none" w="sm" len="sm"/>
              <a:tailEnd type="none" w="sm" len="sm"/>
            </a:ln>
          </p:spPr>
          <p:txBody>
            <a:bodyPr/>
            <a:lstStyle/>
            <a:p>
              <a:endParaRPr lang="en-US"/>
            </a:p>
          </p:txBody>
        </p:sp>
      </p:grpSp>
    </p:spTree>
    <p:extLst>
      <p:ext uri="{BB962C8B-B14F-4D97-AF65-F5344CB8AC3E}">
        <p14:creationId xmlns:p14="http://schemas.microsoft.com/office/powerpoint/2010/main" val="558820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tanding in front of a crowd&#10;&#10;Description generated with very high confidence">
            <a:extLst>
              <a:ext uri="{FF2B5EF4-FFF2-40B4-BE49-F238E27FC236}">
                <a16:creationId xmlns:a16="http://schemas.microsoft.com/office/drawing/2014/main" id="{6571EF00-F7D9-46FB-B4C9-11277CBF1D5B}"/>
              </a:ext>
            </a:extLst>
          </p:cNvPr>
          <p:cNvPicPr>
            <a:picLocks noChangeAspect="1"/>
          </p:cNvPicPr>
          <p:nvPr/>
        </p:nvPicPr>
        <p:blipFill rotWithShape="1">
          <a:blip r:embed="rId3">
            <a:extLst>
              <a:ext uri="{28A0092B-C50C-407E-A947-70E740481C1C}">
                <a14:useLocalDpi xmlns:a14="http://schemas.microsoft.com/office/drawing/2010/main" val="0"/>
              </a:ext>
            </a:extLst>
          </a:blip>
          <a:srcRect l="10124" t="7934" r="132" b="1884"/>
          <a:stretch/>
        </p:blipFill>
        <p:spPr>
          <a:xfrm>
            <a:off x="-16330" y="-48986"/>
            <a:ext cx="12328073" cy="7051746"/>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99069" y="-48986"/>
            <a:ext cx="12421453" cy="7110786"/>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671" y="5014582"/>
            <a:ext cx="5172658" cy="0"/>
          </a:xfrm>
          <a:prstGeom prst="line">
            <a:avLst/>
          </a:prstGeom>
          <a:ln w="19050">
            <a:solidFill>
              <a:srgbClr val="84BD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4">
            <a:extLst>
              <a:ext uri="{28A0092B-C50C-407E-A947-70E740481C1C}">
                <a14:useLocalDpi xmlns:a14="http://schemas.microsoft.com/office/drawing/2010/main" val="0"/>
              </a:ext>
            </a:extLst>
          </a:blip>
          <a:srcRect l="27483" r="29451"/>
          <a:stretch/>
        </p:blipFill>
        <p:spPr>
          <a:xfrm>
            <a:off x="5042587" y="602829"/>
            <a:ext cx="2106827" cy="3261426"/>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6001" y="6094740"/>
            <a:ext cx="7859999" cy="523220"/>
          </a:xfrm>
          <a:prstGeom prst="rect">
            <a:avLst/>
          </a:prstGeom>
          <a:noFill/>
        </p:spPr>
        <p:txBody>
          <a:bodyPr wrap="square" rtlCol="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lang="en-US" sz="2800">
                <a:solidFill>
                  <a:srgbClr val="FFFFFF"/>
                </a:solidFill>
                <a:latin typeface="Calibri" panose="020F0502020204030204"/>
              </a:rPr>
              <a:t>@</a:t>
            </a:r>
            <a:r>
              <a:rPr lang="en-US" sz="2800" err="1">
                <a:solidFill>
                  <a:srgbClr val="FFFFFF"/>
                </a:solidFill>
                <a:latin typeface="Calibri" panose="020F0502020204030204"/>
              </a:rPr>
              <a:t>NewJerseyEDA</a:t>
            </a:r>
            <a:r>
              <a:rPr lang="en-US" sz="2800">
                <a:solidFill>
                  <a:srgbClr val="FFFFFF"/>
                </a:solidFill>
                <a:latin typeface="Calibri" panose="020F0502020204030204"/>
              </a:rPr>
              <a:t>  |  </a:t>
            </a:r>
            <a:r>
              <a:rPr lang="en-US" sz="2800" err="1">
                <a:solidFill>
                  <a:srgbClr val="FFFFFF"/>
                </a:solidFill>
                <a:latin typeface="Calibri" panose="020F0502020204030204"/>
              </a:rPr>
              <a:t>njeda.gov</a:t>
            </a:r>
            <a:r>
              <a:rPr lang="en-US" sz="2800">
                <a:solidFill>
                  <a:srgbClr val="FFFFFF"/>
                </a:solidFill>
                <a:latin typeface="Calibri" panose="020F0502020204030204"/>
              </a:rPr>
              <a:t>	|  609.858.6767</a:t>
            </a:r>
          </a:p>
        </p:txBody>
      </p:sp>
      <p:sp>
        <p:nvSpPr>
          <p:cNvPr id="15" name="TextBox 14">
            <a:extLst>
              <a:ext uri="{FF2B5EF4-FFF2-40B4-BE49-F238E27FC236}">
                <a16:creationId xmlns:a16="http://schemas.microsoft.com/office/drawing/2014/main" id="{792FA7E0-6EDA-4CF2-8371-45DDE16DF062}"/>
              </a:ext>
            </a:extLst>
          </p:cNvPr>
          <p:cNvSpPr txBox="1"/>
          <p:nvPr/>
        </p:nvSpPr>
        <p:spPr>
          <a:xfrm>
            <a:off x="297035" y="4543495"/>
            <a:ext cx="11629247" cy="523220"/>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a:solidFill>
                  <a:srgbClr val="FFFFFF"/>
                </a:solidFill>
                <a:latin typeface="Calibri" panose="020F0502020204030204"/>
                <a:ea typeface="ＭＳ Ｐゴシック"/>
              </a:rPr>
              <a:t>Visit the </a:t>
            </a:r>
            <a:r>
              <a:rPr lang="en-US" sz="2800" err="1">
                <a:solidFill>
                  <a:srgbClr val="FFFFFF"/>
                </a:solidFill>
                <a:latin typeface="Calibri" panose="020F0502020204030204"/>
                <a:ea typeface="ＭＳ Ｐゴシック"/>
              </a:rPr>
              <a:t>www.njeda.gov</a:t>
            </a:r>
            <a:r>
              <a:rPr lang="en-US" sz="2800">
                <a:solidFill>
                  <a:srgbClr val="FFFFFF"/>
                </a:solidFill>
                <a:latin typeface="Calibri" panose="020F0502020204030204"/>
                <a:ea typeface="ＭＳ Ｐゴシック"/>
              </a:rPr>
              <a:t>/</a:t>
            </a:r>
            <a:r>
              <a:rPr lang="en-US" sz="2800" err="1">
                <a:solidFill>
                  <a:srgbClr val="FFFFFF"/>
                </a:solidFill>
                <a:latin typeface="Calibri" panose="020F0502020204030204"/>
                <a:ea typeface="ＭＳ Ｐゴシック"/>
              </a:rPr>
              <a:t>nextnjai</a:t>
            </a:r>
            <a:endParaRPr lang="en-US" sz="2800">
              <a:solidFill>
                <a:srgbClr val="FFFFFF"/>
              </a:solidFill>
              <a:latin typeface="Calibri" panose="020F0502020204030204"/>
              <a:ea typeface="ＭＳ Ｐゴシック" panose="020B0600070205080204" pitchFamily="34" charset="-128"/>
            </a:endParaRPr>
          </a:p>
        </p:txBody>
      </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92" y="6608630"/>
            <a:ext cx="2028008" cy="365125"/>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6358EE78-369A-4A83-91BE-CE1CDBA0BAF0}" type="slidenum">
              <a:rPr lang="en-US" sz="1050" b="1">
                <a:solidFill>
                  <a:srgbClr val="FFFFFF">
                    <a:lumMod val="65000"/>
                  </a:srgbClr>
                </a:solidFill>
                <a:latin typeface="Calibri" panose="020F0502020204030204"/>
              </a:rPr>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t>29</a:t>
            </a:fld>
            <a:endParaRPr lang="en-US" b="1">
              <a:solidFill>
                <a:srgbClr val="FFFFFF">
                  <a:lumMod val="65000"/>
                </a:srgbClr>
              </a:solidFill>
              <a:latin typeface="Calibri" panose="020F0502020204030204"/>
            </a:endParaRPr>
          </a:p>
        </p:txBody>
      </p:sp>
      <p:pic>
        <p:nvPicPr>
          <p:cNvPr id="2" name="Picture 1" descr="A group of logos on a black background&#10;&#10;Description automatically generated">
            <a:extLst>
              <a:ext uri="{FF2B5EF4-FFF2-40B4-BE49-F238E27FC236}">
                <a16:creationId xmlns:a16="http://schemas.microsoft.com/office/drawing/2014/main" id="{337C6F51-326D-0C38-6AF7-BE51ECE5F9F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8656" b="47443"/>
          <a:stretch/>
        </p:blipFill>
        <p:spPr>
          <a:xfrm>
            <a:off x="4260270" y="5125755"/>
            <a:ext cx="3671460" cy="877525"/>
          </a:xfrm>
          <a:prstGeom prst="rect">
            <a:avLst/>
          </a:prstGeom>
        </p:spPr>
      </p:pic>
      <p:pic>
        <p:nvPicPr>
          <p:cNvPr id="4" name="Picture 3" descr="A black and white logo&#10;&#10;Description automatically generated">
            <a:extLst>
              <a:ext uri="{FF2B5EF4-FFF2-40B4-BE49-F238E27FC236}">
                <a16:creationId xmlns:a16="http://schemas.microsoft.com/office/drawing/2014/main" id="{E7E49603-9DCB-9DB1-8D42-49EF22B6AC4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76324" y="6094740"/>
            <a:ext cx="1403343" cy="771493"/>
          </a:xfrm>
          <a:prstGeom prst="rect">
            <a:avLst/>
          </a:prstGeom>
        </p:spPr>
      </p:pic>
    </p:spTree>
    <p:extLst>
      <p:ext uri="{BB962C8B-B14F-4D97-AF65-F5344CB8AC3E}">
        <p14:creationId xmlns:p14="http://schemas.microsoft.com/office/powerpoint/2010/main" val="3157222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7084-3E7E-4253-A571-499690F5C24A}"/>
              </a:ext>
            </a:extLst>
          </p:cNvPr>
          <p:cNvSpPr>
            <a:spLocks noGrp="1"/>
          </p:cNvSpPr>
          <p:nvPr>
            <p:ph type="title"/>
          </p:nvPr>
        </p:nvSpPr>
        <p:spPr>
          <a:xfrm>
            <a:off x="475966" y="252971"/>
            <a:ext cx="11176721" cy="618979"/>
          </a:xfrm>
        </p:spPr>
        <p:txBody>
          <a:bodyPr anchor="t">
            <a:noAutofit/>
          </a:bodyPr>
          <a:lstStyle/>
          <a:p>
            <a:r>
              <a:rPr lang="en-US" sz="3600" b="1">
                <a:latin typeface="+mn-lt"/>
              </a:rPr>
              <a:t>Executive Order No. 63</a:t>
            </a:r>
          </a:p>
        </p:txBody>
      </p:sp>
      <p:grpSp>
        <p:nvGrpSpPr>
          <p:cNvPr id="8" name="Group 7">
            <a:extLst>
              <a:ext uri="{FF2B5EF4-FFF2-40B4-BE49-F238E27FC236}">
                <a16:creationId xmlns:a16="http://schemas.microsoft.com/office/drawing/2014/main" id="{B345EE07-2D80-F844-8980-56081D80379F}"/>
              </a:ext>
            </a:extLst>
          </p:cNvPr>
          <p:cNvGrpSpPr/>
          <p:nvPr/>
        </p:nvGrpSpPr>
        <p:grpSpPr>
          <a:xfrm>
            <a:off x="473327" y="1085349"/>
            <a:ext cx="11250602" cy="4687301"/>
            <a:chOff x="468071" y="1373523"/>
            <a:chExt cx="11250602" cy="4687301"/>
          </a:xfrm>
        </p:grpSpPr>
        <p:sp>
          <p:nvSpPr>
            <p:cNvPr id="10" name="Freeform 9">
              <a:extLst>
                <a:ext uri="{FF2B5EF4-FFF2-40B4-BE49-F238E27FC236}">
                  <a16:creationId xmlns:a16="http://schemas.microsoft.com/office/drawing/2014/main" id="{A3A96320-FB7B-3143-A6A3-EE28F6FC7EFC}"/>
                </a:ext>
              </a:extLst>
            </p:cNvPr>
            <p:cNvSpPr/>
            <p:nvPr/>
          </p:nvSpPr>
          <p:spPr>
            <a:xfrm>
              <a:off x="468071" y="1373523"/>
              <a:ext cx="11245347" cy="1568127"/>
            </a:xfrm>
            <a:custGeom>
              <a:avLst/>
              <a:gdLst>
                <a:gd name="connsiteX0" fmla="*/ 0 w 11245347"/>
                <a:gd name="connsiteY0" fmla="*/ 0 h 1568127"/>
                <a:gd name="connsiteX1" fmla="*/ 11245347 w 11245347"/>
                <a:gd name="connsiteY1" fmla="*/ 0 h 1568127"/>
                <a:gd name="connsiteX2" fmla="*/ 11245347 w 11245347"/>
                <a:gd name="connsiteY2" fmla="*/ 1568127 h 1568127"/>
                <a:gd name="connsiteX3" fmla="*/ 0 w 11245347"/>
                <a:gd name="connsiteY3" fmla="*/ 1568127 h 1568127"/>
                <a:gd name="connsiteX4" fmla="*/ 0 w 11245347"/>
                <a:gd name="connsiteY4" fmla="*/ 0 h 1568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5347" h="1568127">
                  <a:moveTo>
                    <a:pt x="0" y="0"/>
                  </a:moveTo>
                  <a:lnTo>
                    <a:pt x="11245347" y="0"/>
                  </a:lnTo>
                  <a:lnTo>
                    <a:pt x="11245347" y="1568127"/>
                  </a:lnTo>
                  <a:lnTo>
                    <a:pt x="0" y="15681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5250" tIns="95250" rIns="95250" bIns="95250" numCol="1" spcCol="1270" anchor="t" anchorCtr="0">
              <a:noAutofit/>
            </a:bodyPr>
            <a:lstStyle/>
            <a:p>
              <a:pPr defTabSz="1111250">
                <a:lnSpc>
                  <a:spcPct val="90000"/>
                </a:lnSpc>
                <a:spcBef>
                  <a:spcPct val="0"/>
                </a:spcBef>
                <a:spcAft>
                  <a:spcPct val="35000"/>
                </a:spcAft>
                <a:defRPr/>
              </a:pPr>
              <a:r>
                <a:rPr lang="en-US" sz="2500">
                  <a:solidFill>
                    <a:srgbClr val="000000"/>
                  </a:solidFill>
                  <a:latin typeface="Calibri" panose="020F0502020204030204"/>
                </a:rPr>
                <a:t>Pursuant to Governor Murphy’s Executive Order No. 63, the NJEDA is providing opportunities for groups and stakeholders to engage with the NJEDA in crafting rules around  Next NJ Program Incentive Program.</a:t>
              </a:r>
            </a:p>
          </p:txBody>
        </p:sp>
        <p:sp>
          <p:nvSpPr>
            <p:cNvPr id="11" name="Straight Connector 10">
              <a:extLst>
                <a:ext uri="{FF2B5EF4-FFF2-40B4-BE49-F238E27FC236}">
                  <a16:creationId xmlns:a16="http://schemas.microsoft.com/office/drawing/2014/main" id="{153C5FD1-EFF0-AD44-94EB-C48128938580}"/>
                </a:ext>
              </a:extLst>
            </p:cNvPr>
            <p:cNvSpPr/>
            <p:nvPr/>
          </p:nvSpPr>
          <p:spPr>
            <a:xfrm>
              <a:off x="473326" y="2665211"/>
              <a:ext cx="11245347"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Freeform 11">
              <a:extLst>
                <a:ext uri="{FF2B5EF4-FFF2-40B4-BE49-F238E27FC236}">
                  <a16:creationId xmlns:a16="http://schemas.microsoft.com/office/drawing/2014/main" id="{E3BB767B-6447-3045-A0A5-87BAB85DC859}"/>
                </a:ext>
              </a:extLst>
            </p:cNvPr>
            <p:cNvSpPr/>
            <p:nvPr/>
          </p:nvSpPr>
          <p:spPr>
            <a:xfrm>
              <a:off x="473326" y="2837486"/>
              <a:ext cx="11245347" cy="1568127"/>
            </a:xfrm>
            <a:custGeom>
              <a:avLst/>
              <a:gdLst>
                <a:gd name="connsiteX0" fmla="*/ 0 w 11245347"/>
                <a:gd name="connsiteY0" fmla="*/ 0 h 1568127"/>
                <a:gd name="connsiteX1" fmla="*/ 11245347 w 11245347"/>
                <a:gd name="connsiteY1" fmla="*/ 0 h 1568127"/>
                <a:gd name="connsiteX2" fmla="*/ 11245347 w 11245347"/>
                <a:gd name="connsiteY2" fmla="*/ 1568127 h 1568127"/>
                <a:gd name="connsiteX3" fmla="*/ 0 w 11245347"/>
                <a:gd name="connsiteY3" fmla="*/ 1568127 h 1568127"/>
                <a:gd name="connsiteX4" fmla="*/ 0 w 11245347"/>
                <a:gd name="connsiteY4" fmla="*/ 0 h 1568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5347" h="1568127">
                  <a:moveTo>
                    <a:pt x="0" y="0"/>
                  </a:moveTo>
                  <a:lnTo>
                    <a:pt x="11245347" y="0"/>
                  </a:lnTo>
                  <a:lnTo>
                    <a:pt x="11245347" y="1568127"/>
                  </a:lnTo>
                  <a:lnTo>
                    <a:pt x="0" y="15681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5250" tIns="95250" rIns="95250" bIns="95250" numCol="1" spcCol="1270" anchor="t" anchorCtr="0">
              <a:noAutofit/>
            </a:bodyPr>
            <a:lstStyle/>
            <a:p>
              <a:pPr defTabSz="1111250">
                <a:lnSpc>
                  <a:spcPct val="90000"/>
                </a:lnSpc>
                <a:spcBef>
                  <a:spcPct val="0"/>
                </a:spcBef>
                <a:spcAft>
                  <a:spcPct val="35000"/>
                </a:spcAft>
                <a:defRPr/>
              </a:pPr>
              <a:r>
                <a:rPr lang="en-US" sz="2500">
                  <a:solidFill>
                    <a:srgbClr val="000000"/>
                  </a:solidFill>
                  <a:latin typeface="Calibri" panose="020F0502020204030204"/>
                </a:rPr>
                <a:t>We welcome constructive input on how to ensure new programs created are structured and administered in a manner that drives opportunities for all residents and communities.</a:t>
              </a:r>
            </a:p>
          </p:txBody>
        </p:sp>
        <p:sp>
          <p:nvSpPr>
            <p:cNvPr id="13" name="Straight Connector 12">
              <a:extLst>
                <a:ext uri="{FF2B5EF4-FFF2-40B4-BE49-F238E27FC236}">
                  <a16:creationId xmlns:a16="http://schemas.microsoft.com/office/drawing/2014/main" id="{BE8C1AF9-CCD3-4649-872C-420770B66F8B}"/>
                </a:ext>
              </a:extLst>
            </p:cNvPr>
            <p:cNvSpPr/>
            <p:nvPr/>
          </p:nvSpPr>
          <p:spPr>
            <a:xfrm>
              <a:off x="473326" y="4298651"/>
              <a:ext cx="11245347"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4" name="Freeform 13">
              <a:extLst>
                <a:ext uri="{FF2B5EF4-FFF2-40B4-BE49-F238E27FC236}">
                  <a16:creationId xmlns:a16="http://schemas.microsoft.com/office/drawing/2014/main" id="{072C2C35-C7EA-314A-A771-1B4DAC0B398F}"/>
                </a:ext>
              </a:extLst>
            </p:cNvPr>
            <p:cNvSpPr/>
            <p:nvPr/>
          </p:nvSpPr>
          <p:spPr>
            <a:xfrm>
              <a:off x="473326" y="4492697"/>
              <a:ext cx="11245347" cy="1568127"/>
            </a:xfrm>
            <a:custGeom>
              <a:avLst/>
              <a:gdLst>
                <a:gd name="connsiteX0" fmla="*/ 0 w 11245347"/>
                <a:gd name="connsiteY0" fmla="*/ 0 h 1568127"/>
                <a:gd name="connsiteX1" fmla="*/ 11245347 w 11245347"/>
                <a:gd name="connsiteY1" fmla="*/ 0 h 1568127"/>
                <a:gd name="connsiteX2" fmla="*/ 11245347 w 11245347"/>
                <a:gd name="connsiteY2" fmla="*/ 1568127 h 1568127"/>
                <a:gd name="connsiteX3" fmla="*/ 0 w 11245347"/>
                <a:gd name="connsiteY3" fmla="*/ 1568127 h 1568127"/>
                <a:gd name="connsiteX4" fmla="*/ 0 w 11245347"/>
                <a:gd name="connsiteY4" fmla="*/ 0 h 1568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5347" h="1568127">
                  <a:moveTo>
                    <a:pt x="0" y="0"/>
                  </a:moveTo>
                  <a:lnTo>
                    <a:pt x="11245347" y="0"/>
                  </a:lnTo>
                  <a:lnTo>
                    <a:pt x="11245347" y="1568127"/>
                  </a:lnTo>
                  <a:lnTo>
                    <a:pt x="0" y="15681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5250" tIns="95250" rIns="95250" bIns="95250" numCol="1" spcCol="1270" anchor="t" anchorCtr="0">
              <a:noAutofit/>
            </a:bodyPr>
            <a:lstStyle/>
            <a:p>
              <a:pPr marL="0" marR="0" lvl="0" indent="0" algn="l" defTabSz="1111250" rtl="0" eaLnBrk="1" fontAlgn="auto" latinLnBrk="0" hangingPunct="1">
                <a:lnSpc>
                  <a:spcPct val="90000"/>
                </a:lnSpc>
                <a:spcBef>
                  <a:spcPct val="0"/>
                </a:spcBef>
                <a:spcAft>
                  <a:spcPct val="35000"/>
                </a:spcAft>
                <a:buClrTx/>
                <a:buSzTx/>
                <a:buFontTx/>
                <a:buNone/>
                <a:tabLst/>
                <a:defRPr/>
              </a:pPr>
              <a:r>
                <a:rPr lang="en-US" sz="2500">
                  <a:solidFill>
                    <a:srgbClr val="000000"/>
                  </a:solidFill>
                  <a:latin typeface="Calibri" panose="020F0502020204030204"/>
                </a:rPr>
                <a:t>The NJEDA will begin the session with a presentation to summarize the information – opportunity for public feedback will be available following the NJEDA’s presentation. It is expected that the entirety of the session will take up to 90 minutes. </a:t>
              </a:r>
            </a:p>
          </p:txBody>
        </p:sp>
      </p:grpSp>
      <p:sp>
        <p:nvSpPr>
          <p:cNvPr id="15" name="Slide Number Placeholder 4">
            <a:extLst>
              <a:ext uri="{FF2B5EF4-FFF2-40B4-BE49-F238E27FC236}">
                <a16:creationId xmlns:a16="http://schemas.microsoft.com/office/drawing/2014/main" id="{ED6F85C5-9695-444E-BA0A-002D1FCA7915}"/>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fld id="{6358EE78-369A-4A83-91BE-CE1CDBA0BAF0}" type="slidenum">
              <a:rPr lang="en-US" sz="1100" b="1">
                <a:solidFill>
                  <a:srgbClr val="FFFFFF">
                    <a:lumMod val="65000"/>
                  </a:srgbClr>
                </a:solidFill>
                <a:latin typeface="Calibri" panose="020F0502020204030204"/>
              </a:rPr>
              <a:pPr marL="0" marR="0" lvl="0" indent="0" algn="r" defTabSz="914341" rtl="0" eaLnBrk="1" fontAlgn="auto" latinLnBrk="0" hangingPunct="1">
                <a:lnSpc>
                  <a:spcPct val="100000"/>
                </a:lnSpc>
                <a:spcBef>
                  <a:spcPts val="0"/>
                </a:spcBef>
                <a:spcAft>
                  <a:spcPts val="0"/>
                </a:spcAft>
                <a:buClrTx/>
                <a:buSzTx/>
                <a:buFontTx/>
                <a:buNone/>
                <a:tabLst/>
                <a:defRPr/>
              </a:pPr>
              <a:t>3</a:t>
            </a:fld>
            <a:endParaRPr lang="en-US" sz="1100" b="1">
              <a:solidFill>
                <a:srgbClr val="FFFFFF">
                  <a:lumMod val="65000"/>
                </a:srgbClr>
              </a:solidFill>
              <a:latin typeface="Calibri" panose="020F0502020204030204"/>
            </a:endParaRPr>
          </a:p>
        </p:txBody>
      </p:sp>
      <p:grpSp>
        <p:nvGrpSpPr>
          <p:cNvPr id="3" name="Group 2">
            <a:extLst>
              <a:ext uri="{FF2B5EF4-FFF2-40B4-BE49-F238E27FC236}">
                <a16:creationId xmlns:a16="http://schemas.microsoft.com/office/drawing/2014/main" id="{54F751E7-A76F-3549-3814-0FCA91C6229C}"/>
              </a:ext>
            </a:extLst>
          </p:cNvPr>
          <p:cNvGrpSpPr/>
          <p:nvPr/>
        </p:nvGrpSpPr>
        <p:grpSpPr>
          <a:xfrm>
            <a:off x="9968911" y="5899336"/>
            <a:ext cx="1896852" cy="861934"/>
            <a:chOff x="9968911" y="5899336"/>
            <a:chExt cx="1896852" cy="861934"/>
          </a:xfrm>
        </p:grpSpPr>
        <p:sp>
          <p:nvSpPr>
            <p:cNvPr id="4" name="Rectangle 3">
              <a:extLst>
                <a:ext uri="{FF2B5EF4-FFF2-40B4-BE49-F238E27FC236}">
                  <a16:creationId xmlns:a16="http://schemas.microsoft.com/office/drawing/2014/main" id="{46D8A4BD-992E-2442-C07F-9C5F08F66E78}"/>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con&#10;&#10;Description automatically generated">
              <a:extLst>
                <a:ext uri="{FF2B5EF4-FFF2-40B4-BE49-F238E27FC236}">
                  <a16:creationId xmlns:a16="http://schemas.microsoft.com/office/drawing/2014/main" id="{A92BC12C-0F1F-C504-ACD4-10CB571E69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9" name="AutoShape 11">
            <a:extLst>
              <a:ext uri="{FF2B5EF4-FFF2-40B4-BE49-F238E27FC236}">
                <a16:creationId xmlns:a16="http://schemas.microsoft.com/office/drawing/2014/main" id="{2A93D154-9CB2-1898-5657-EDD6262026CB}"/>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6" name="AutoShape 10">
            <a:extLst>
              <a:ext uri="{FF2B5EF4-FFF2-40B4-BE49-F238E27FC236}">
                <a16:creationId xmlns:a16="http://schemas.microsoft.com/office/drawing/2014/main" id="{EC91EDDC-1C03-36B0-D256-0EC19927D065}"/>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7" name="Isosceles Triangle 25">
            <a:extLst>
              <a:ext uri="{FF2B5EF4-FFF2-40B4-BE49-F238E27FC236}">
                <a16:creationId xmlns:a16="http://schemas.microsoft.com/office/drawing/2014/main" id="{0E125F55-2A4E-9E64-C315-73EF19990FAE}"/>
              </a:ext>
            </a:extLst>
          </p:cNvPr>
          <p:cNvSpPr/>
          <p:nvPr/>
        </p:nvSpPr>
        <p:spPr>
          <a:xfrm rot="10800000">
            <a:off x="6868882" y="-32724"/>
            <a:ext cx="5410202" cy="119230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ln>
            <a:solidFill>
              <a:srgbClr val="0059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712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B9266A61-0D93-4F98-AF1D-EB60F63B0D14}"/>
              </a:ext>
            </a:extLst>
          </p:cNvPr>
          <p:cNvSpPr txBox="1">
            <a:spLocks/>
          </p:cNvSpPr>
          <p:nvPr/>
        </p:nvSpPr>
        <p:spPr bwMode="auto">
          <a:xfrm>
            <a:off x="619883" y="269931"/>
            <a:ext cx="102859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lang="en-US" sz="3600" b="1" kern="0">
                <a:solidFill>
                  <a:srgbClr val="00587B"/>
                </a:solidFill>
                <a:latin typeface="Calibri" panose="020F0502020204030204"/>
              </a:rPr>
              <a:t>Public Feedback Policy</a:t>
            </a:r>
            <a:endParaRPr lang="en-US" sz="3600" kern="0">
              <a:solidFill>
                <a:srgbClr val="00587B"/>
              </a:solidFill>
              <a:latin typeface="Calibri" panose="020F0502020204030204"/>
            </a:endParaRPr>
          </a:p>
        </p:txBody>
      </p:sp>
      <p:sp>
        <p:nvSpPr>
          <p:cNvPr id="36" name="Rectangle 35">
            <a:extLst>
              <a:ext uri="{FF2B5EF4-FFF2-40B4-BE49-F238E27FC236}">
                <a16:creationId xmlns:a16="http://schemas.microsoft.com/office/drawing/2014/main" id="{C00CD56E-0FF5-384F-BE40-8D5E147314A5}"/>
              </a:ext>
            </a:extLst>
          </p:cNvPr>
          <p:cNvSpPr/>
          <p:nvPr/>
        </p:nvSpPr>
        <p:spPr>
          <a:xfrm>
            <a:off x="430462" y="1042541"/>
            <a:ext cx="10828396" cy="5239498"/>
          </a:xfrm>
          <a:prstGeom prst="rect">
            <a:avLst/>
          </a:prstGeom>
        </p:spPr>
        <p:txBody>
          <a:bodyPr wrap="square" lIns="91440" tIns="45720" rIns="91440" bIns="45720" anchor="t">
            <a:spAutoFit/>
          </a:bodyPr>
          <a:lstStyle/>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Feedback may be submitted verbally by using the “raise hand” function in Zoom, or in writing through the Q&amp;A feature. </a:t>
            </a:r>
            <a:r>
              <a:rPr lang="en-US">
                <a:solidFill>
                  <a:srgbClr val="000000"/>
                </a:solidFill>
                <a:latin typeface="Calibri" panose="020F0502020204030204"/>
              </a:rPr>
              <a:t>Input will not be accepted verbally until the NJEDA has concluded its presentation. </a:t>
            </a: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Each member of the public who wishes to speak during the public feedback period should use the “raise hand” function in Zoom. </a:t>
            </a:r>
            <a:r>
              <a:rPr lang="en-US">
                <a:solidFill>
                  <a:srgbClr val="000000"/>
                </a:solidFill>
                <a:latin typeface="Calibri" panose="020F0502020204030204"/>
              </a:rPr>
              <a:t>The host will acknowledge each speaker in the order in which they raised their hand and will open the speaker’s microphone to make their statement.</a:t>
            </a:r>
            <a:endParaRPr lang="en-US">
              <a:solidFill>
                <a:srgbClr val="000000"/>
              </a:solidFill>
              <a:latin typeface="Calibri" panose="020F0502020204030204"/>
              <a:cs typeface="Calibri"/>
            </a:endParaRPr>
          </a:p>
          <a:p>
            <a:pPr marL="285750" indent="-285750">
              <a:spcBef>
                <a:spcPts val="1800"/>
              </a:spcBef>
              <a:buClr>
                <a:srgbClr val="83BD00"/>
              </a:buClr>
              <a:buFont typeface="System Font Regular"/>
              <a:buChar char="►"/>
              <a:defRPr/>
            </a:pPr>
            <a:r>
              <a:rPr lang="en-US">
                <a:solidFill>
                  <a:srgbClr val="000000"/>
                </a:solidFill>
                <a:latin typeface="Calibri" panose="020F0502020204030204"/>
              </a:rPr>
              <a:t>To ensure everyone that chooses to has an opportunity to speak, </a:t>
            </a:r>
            <a:r>
              <a:rPr lang="en-US" b="1">
                <a:solidFill>
                  <a:srgbClr val="00587B"/>
                </a:solidFill>
                <a:latin typeface="Calibri" panose="020F0502020204030204"/>
              </a:rPr>
              <a:t>each speaker will have a maximum of three (3) minutes to speak and should limit input to matters pertaining to the Next New Jersey Program-AI</a:t>
            </a:r>
            <a:r>
              <a:rPr lang="en-US">
                <a:solidFill>
                  <a:srgbClr val="00587B"/>
                </a:solidFill>
                <a:latin typeface="Calibri" panose="020F0502020204030204"/>
              </a:rPr>
              <a:t>.</a:t>
            </a:r>
            <a:endParaRPr lang="en-US">
              <a:solidFill>
                <a:srgbClr val="00587B"/>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Each member of the public will have one opportunity to provide remarks.  </a:t>
            </a:r>
            <a:r>
              <a:rPr lang="en-US">
                <a:solidFill>
                  <a:srgbClr val="000000"/>
                </a:solidFill>
                <a:latin typeface="Calibri" panose="020F0502020204030204"/>
              </a:rPr>
              <a:t>If time remains at the end of the session, we will reopen the opportunity for additional remarks.</a:t>
            </a:r>
            <a:endParaRPr lang="en-US">
              <a:solidFill>
                <a:srgbClr val="000000"/>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Speakers should not expect to engage in a dialogue.  NJEDA staff may respond to basic questions or clarify a speaker’s input.</a:t>
            </a:r>
            <a:r>
              <a:rPr lang="en-US">
                <a:solidFill>
                  <a:srgbClr val="00587B"/>
                </a:solidFill>
                <a:latin typeface="Calibri" panose="020F0502020204030204"/>
              </a:rPr>
              <a:t>  </a:t>
            </a:r>
            <a:r>
              <a:rPr lang="en-US">
                <a:solidFill>
                  <a:srgbClr val="000000"/>
                </a:solidFill>
                <a:latin typeface="Calibri" panose="020F0502020204030204"/>
              </a:rPr>
              <a:t>However, NJEDA staff are not obligated to answer impromptu questions or address remarks from members of the public.</a:t>
            </a:r>
            <a:endParaRPr lang="en-US">
              <a:solidFill>
                <a:srgbClr val="000000"/>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Speakers and members of the public should at all times maintain proper decorum and shall </a:t>
            </a:r>
            <a:br>
              <a:rPr lang="en-US" b="1">
                <a:latin typeface="Calibri" panose="020F0502020204030204"/>
              </a:rPr>
            </a:br>
            <a:r>
              <a:rPr lang="en-US" b="1">
                <a:solidFill>
                  <a:srgbClr val="00587B"/>
                </a:solidFill>
                <a:latin typeface="Calibri" panose="020F0502020204030204"/>
              </a:rPr>
              <a:t>provide their remarks in a civil manner.</a:t>
            </a:r>
            <a:endParaRPr lang="en-US" b="1">
              <a:solidFill>
                <a:srgbClr val="00587B"/>
              </a:solidFill>
              <a:latin typeface="Calibri" panose="020F0502020204030204"/>
              <a:cs typeface="Calibri"/>
            </a:endParaRPr>
          </a:p>
        </p:txBody>
      </p:sp>
      <p:cxnSp>
        <p:nvCxnSpPr>
          <p:cNvPr id="6" name="Straight Connector 5">
            <a:extLst>
              <a:ext uri="{FF2B5EF4-FFF2-40B4-BE49-F238E27FC236}">
                <a16:creationId xmlns:a16="http://schemas.microsoft.com/office/drawing/2014/main" id="{93B2F899-AEAC-3B4C-A8CB-00A9DD5AA08C}"/>
              </a:ext>
            </a:extLst>
          </p:cNvPr>
          <p:cNvCxnSpPr/>
          <p:nvPr/>
        </p:nvCxnSpPr>
        <p:spPr>
          <a:xfrm>
            <a:off x="430463" y="1776685"/>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44DF1EF6-1863-C54B-9593-8FF3E902F395}"/>
              </a:ext>
            </a:extLst>
          </p:cNvPr>
          <p:cNvCxnSpPr/>
          <p:nvPr/>
        </p:nvCxnSpPr>
        <p:spPr>
          <a:xfrm>
            <a:off x="430455" y="2818658"/>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8" name="Straight Connector 7">
            <a:extLst>
              <a:ext uri="{FF2B5EF4-FFF2-40B4-BE49-F238E27FC236}">
                <a16:creationId xmlns:a16="http://schemas.microsoft.com/office/drawing/2014/main" id="{4B6939CB-C96F-6344-825A-05BF5E8CFE73}"/>
              </a:ext>
            </a:extLst>
          </p:cNvPr>
          <p:cNvCxnSpPr/>
          <p:nvPr/>
        </p:nvCxnSpPr>
        <p:spPr>
          <a:xfrm>
            <a:off x="430463" y="3654049"/>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D04A1703-8ABE-FB4D-8E3A-C5ADEBF9142E}"/>
              </a:ext>
            </a:extLst>
          </p:cNvPr>
          <p:cNvCxnSpPr/>
          <p:nvPr/>
        </p:nvCxnSpPr>
        <p:spPr>
          <a:xfrm>
            <a:off x="430463" y="4460368"/>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C88B66F7-1C6B-384E-B64D-4CE0FEC607D9}"/>
              </a:ext>
            </a:extLst>
          </p:cNvPr>
          <p:cNvCxnSpPr/>
          <p:nvPr/>
        </p:nvCxnSpPr>
        <p:spPr>
          <a:xfrm>
            <a:off x="430455" y="5521736"/>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2" name="Slide Number Placeholder 4">
            <a:extLst>
              <a:ext uri="{FF2B5EF4-FFF2-40B4-BE49-F238E27FC236}">
                <a16:creationId xmlns:a16="http://schemas.microsoft.com/office/drawing/2014/main" id="{80DCA7ED-1789-435F-9C69-71E0F574211D}"/>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fld id="{6358EE78-369A-4A83-91BE-CE1CDBA0BAF0}" type="slidenum">
              <a:rPr lang="en-US" sz="1100" b="1">
                <a:solidFill>
                  <a:srgbClr val="FFFFFF">
                    <a:lumMod val="65000"/>
                  </a:srgbClr>
                </a:solidFill>
                <a:latin typeface="Calibri" panose="020F0502020204030204"/>
              </a:rPr>
              <a:pPr marL="0" marR="0" lvl="0" indent="0" algn="r" defTabSz="914341" rtl="0" eaLnBrk="1" fontAlgn="auto" latinLnBrk="0" hangingPunct="1">
                <a:lnSpc>
                  <a:spcPct val="100000"/>
                </a:lnSpc>
                <a:spcBef>
                  <a:spcPts val="0"/>
                </a:spcBef>
                <a:spcAft>
                  <a:spcPts val="0"/>
                </a:spcAft>
                <a:buClrTx/>
                <a:buSzTx/>
                <a:buFontTx/>
                <a:buNone/>
                <a:tabLst/>
                <a:defRPr/>
              </a:pPr>
              <a:t>30</a:t>
            </a:fld>
            <a:endParaRPr lang="en-US" sz="1100" b="1">
              <a:solidFill>
                <a:srgbClr val="FFFFFF">
                  <a:lumMod val="65000"/>
                </a:srgbClr>
              </a:solidFill>
              <a:latin typeface="Calibri" panose="020F0502020204030204"/>
            </a:endParaRPr>
          </a:p>
        </p:txBody>
      </p:sp>
      <p:grpSp>
        <p:nvGrpSpPr>
          <p:cNvPr id="2" name="Group 1">
            <a:extLst>
              <a:ext uri="{FF2B5EF4-FFF2-40B4-BE49-F238E27FC236}">
                <a16:creationId xmlns:a16="http://schemas.microsoft.com/office/drawing/2014/main" id="{2AFD34E7-B046-B711-F503-79B30F52C626}"/>
              </a:ext>
            </a:extLst>
          </p:cNvPr>
          <p:cNvGrpSpPr/>
          <p:nvPr/>
        </p:nvGrpSpPr>
        <p:grpSpPr>
          <a:xfrm>
            <a:off x="9968911" y="5899336"/>
            <a:ext cx="1896852" cy="861934"/>
            <a:chOff x="9968911" y="5899336"/>
            <a:chExt cx="1896852" cy="861934"/>
          </a:xfrm>
        </p:grpSpPr>
        <p:sp>
          <p:nvSpPr>
            <p:cNvPr id="3" name="Rectangle 2">
              <a:extLst>
                <a:ext uri="{FF2B5EF4-FFF2-40B4-BE49-F238E27FC236}">
                  <a16:creationId xmlns:a16="http://schemas.microsoft.com/office/drawing/2014/main" id="{CB471C6C-1E53-101E-6AD3-FD8CE42308B2}"/>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Icon&#10;&#10;Description automatically generated">
              <a:extLst>
                <a:ext uri="{FF2B5EF4-FFF2-40B4-BE49-F238E27FC236}">
                  <a16:creationId xmlns:a16="http://schemas.microsoft.com/office/drawing/2014/main" id="{01C996E6-F56A-DC16-6398-18E5A15B0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3" name="AutoShape 11">
            <a:extLst>
              <a:ext uri="{FF2B5EF4-FFF2-40B4-BE49-F238E27FC236}">
                <a16:creationId xmlns:a16="http://schemas.microsoft.com/office/drawing/2014/main" id="{B64CE629-CB15-621C-2A69-7BDF90ECDD61}"/>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4" name="AutoShape 10">
            <a:extLst>
              <a:ext uri="{FF2B5EF4-FFF2-40B4-BE49-F238E27FC236}">
                <a16:creationId xmlns:a16="http://schemas.microsoft.com/office/drawing/2014/main" id="{4D7CDDEF-2897-FD2A-0D68-6FF6B99CB6AB}"/>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5" name="Isosceles Triangle 25">
            <a:extLst>
              <a:ext uri="{FF2B5EF4-FFF2-40B4-BE49-F238E27FC236}">
                <a16:creationId xmlns:a16="http://schemas.microsoft.com/office/drawing/2014/main" id="{346FEC52-8A12-46E7-5030-45DCE74E9DA0}"/>
              </a:ext>
            </a:extLst>
          </p:cNvPr>
          <p:cNvSpPr/>
          <p:nvPr/>
        </p:nvSpPr>
        <p:spPr>
          <a:xfrm rot="10800000">
            <a:off x="6781800" y="-42809"/>
            <a:ext cx="5410200" cy="122088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Tree>
    <p:extLst>
      <p:ext uri="{BB962C8B-B14F-4D97-AF65-F5344CB8AC3E}">
        <p14:creationId xmlns:p14="http://schemas.microsoft.com/office/powerpoint/2010/main" val="789835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B9266A61-0D93-4F98-AF1D-EB60F63B0D14}"/>
              </a:ext>
            </a:extLst>
          </p:cNvPr>
          <p:cNvSpPr txBox="1">
            <a:spLocks/>
          </p:cNvSpPr>
          <p:nvPr/>
        </p:nvSpPr>
        <p:spPr bwMode="auto">
          <a:xfrm>
            <a:off x="619883" y="269931"/>
            <a:ext cx="102859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lang="en-US" sz="3600" b="1" kern="0">
                <a:solidFill>
                  <a:srgbClr val="00587B"/>
                </a:solidFill>
                <a:latin typeface="Calibri" panose="020F0502020204030204"/>
              </a:rPr>
              <a:t>Public Feedback Policy</a:t>
            </a:r>
            <a:endParaRPr lang="en-US" sz="3600" kern="0">
              <a:solidFill>
                <a:srgbClr val="00587B"/>
              </a:solidFill>
              <a:latin typeface="Calibri" panose="020F0502020204030204"/>
            </a:endParaRPr>
          </a:p>
        </p:txBody>
      </p:sp>
      <p:sp>
        <p:nvSpPr>
          <p:cNvPr id="36" name="Rectangle 35">
            <a:extLst>
              <a:ext uri="{FF2B5EF4-FFF2-40B4-BE49-F238E27FC236}">
                <a16:creationId xmlns:a16="http://schemas.microsoft.com/office/drawing/2014/main" id="{C00CD56E-0FF5-384F-BE40-8D5E147314A5}"/>
              </a:ext>
            </a:extLst>
          </p:cNvPr>
          <p:cNvSpPr/>
          <p:nvPr/>
        </p:nvSpPr>
        <p:spPr>
          <a:xfrm>
            <a:off x="430462" y="1042541"/>
            <a:ext cx="10828396" cy="5239498"/>
          </a:xfrm>
          <a:prstGeom prst="rect">
            <a:avLst/>
          </a:prstGeom>
        </p:spPr>
        <p:txBody>
          <a:bodyPr wrap="square" lIns="91440" tIns="45720" rIns="91440" bIns="45720" anchor="t">
            <a:spAutoFit/>
          </a:bodyPr>
          <a:lstStyle/>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Feedback may be submitted verbally by using the “raise hand” function in Zoom, or in writing through the Q&amp;A feature. </a:t>
            </a:r>
            <a:r>
              <a:rPr lang="en-US">
                <a:solidFill>
                  <a:srgbClr val="000000"/>
                </a:solidFill>
                <a:latin typeface="Calibri" panose="020F0502020204030204"/>
              </a:rPr>
              <a:t>Input will not be accepted verbally until the NJEDA has concluded its presentation. </a:t>
            </a: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Each member of the public who wishes to speak during the public feedback period should use the “raise hand” function in Zoom. </a:t>
            </a:r>
            <a:r>
              <a:rPr lang="en-US">
                <a:solidFill>
                  <a:srgbClr val="000000"/>
                </a:solidFill>
                <a:latin typeface="Calibri" panose="020F0502020204030204"/>
              </a:rPr>
              <a:t>The host will acknowledge each speaker in the order in which they raised their hand and will open the speaker’s microphone to make their statement.</a:t>
            </a:r>
            <a:endParaRPr lang="en-US">
              <a:solidFill>
                <a:srgbClr val="000000"/>
              </a:solidFill>
              <a:latin typeface="Calibri" panose="020F0502020204030204"/>
              <a:cs typeface="Calibri"/>
            </a:endParaRPr>
          </a:p>
          <a:p>
            <a:pPr marL="285750" indent="-285750">
              <a:spcBef>
                <a:spcPts val="1800"/>
              </a:spcBef>
              <a:buClr>
                <a:srgbClr val="83BD00"/>
              </a:buClr>
              <a:buFont typeface="System Font Regular"/>
              <a:buChar char="►"/>
              <a:defRPr/>
            </a:pPr>
            <a:r>
              <a:rPr lang="en-US">
                <a:solidFill>
                  <a:srgbClr val="000000"/>
                </a:solidFill>
                <a:latin typeface="Calibri" panose="020F0502020204030204"/>
              </a:rPr>
              <a:t>To ensure everyone that chooses to has an opportunity to speak, </a:t>
            </a:r>
            <a:r>
              <a:rPr lang="en-US" b="1">
                <a:solidFill>
                  <a:srgbClr val="00587B"/>
                </a:solidFill>
                <a:latin typeface="Calibri" panose="020F0502020204030204"/>
              </a:rPr>
              <a:t>each speaker will have a maximum of three (3) minutes to speak and should limit input to matters pertaining to the Next New Jersey Program-AI</a:t>
            </a:r>
            <a:r>
              <a:rPr lang="en-US">
                <a:solidFill>
                  <a:srgbClr val="00587B"/>
                </a:solidFill>
                <a:latin typeface="Calibri" panose="020F0502020204030204"/>
              </a:rPr>
              <a:t>.</a:t>
            </a:r>
            <a:endParaRPr lang="en-US">
              <a:solidFill>
                <a:srgbClr val="00587B"/>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Each member of the public will have one opportunity to provide remarks.  </a:t>
            </a:r>
            <a:r>
              <a:rPr lang="en-US">
                <a:solidFill>
                  <a:srgbClr val="000000"/>
                </a:solidFill>
                <a:latin typeface="Calibri" panose="020F0502020204030204"/>
              </a:rPr>
              <a:t>If time remains at the end of the session, we will reopen the opportunity for additional remarks.</a:t>
            </a:r>
            <a:endParaRPr lang="en-US">
              <a:solidFill>
                <a:srgbClr val="000000"/>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Speakers should not expect to engage in a dialogue.  NJEDA staff may respond to basic questions or clarify a speaker’s input.</a:t>
            </a:r>
            <a:r>
              <a:rPr lang="en-US">
                <a:solidFill>
                  <a:srgbClr val="00587B"/>
                </a:solidFill>
                <a:latin typeface="Calibri" panose="020F0502020204030204"/>
              </a:rPr>
              <a:t>  </a:t>
            </a:r>
            <a:r>
              <a:rPr lang="en-US">
                <a:solidFill>
                  <a:srgbClr val="000000"/>
                </a:solidFill>
                <a:latin typeface="Calibri" panose="020F0502020204030204"/>
              </a:rPr>
              <a:t>However, NJEDA staff are not obligated to answer impromptu questions or address remarks from members of the public.</a:t>
            </a:r>
            <a:endParaRPr lang="en-US">
              <a:solidFill>
                <a:srgbClr val="000000"/>
              </a:solidFill>
              <a:latin typeface="Calibri" panose="020F0502020204030204"/>
              <a:cs typeface="Calibri"/>
            </a:endParaRPr>
          </a:p>
          <a:p>
            <a:pPr marL="285750" marR="0" lvl="0" indent="-285750" algn="l" defTabSz="914341" rtl="0" eaLnBrk="1" fontAlgn="auto" latinLnBrk="0" hangingPunct="1">
              <a:lnSpc>
                <a:spcPct val="100000"/>
              </a:lnSpc>
              <a:spcBef>
                <a:spcPts val="1800"/>
              </a:spcBef>
              <a:spcAft>
                <a:spcPts val="0"/>
              </a:spcAft>
              <a:buClr>
                <a:srgbClr val="83BD00"/>
              </a:buClr>
              <a:buSzTx/>
              <a:buFont typeface="System Font Regular"/>
              <a:buChar char="►"/>
              <a:tabLst/>
              <a:defRPr/>
            </a:pPr>
            <a:r>
              <a:rPr lang="en-US" b="1">
                <a:solidFill>
                  <a:srgbClr val="00587B"/>
                </a:solidFill>
                <a:latin typeface="Calibri" panose="020F0502020204030204"/>
              </a:rPr>
              <a:t>Speakers and members of the public should at all times maintain proper decorum and shall </a:t>
            </a:r>
            <a:br>
              <a:rPr lang="en-US" b="1">
                <a:latin typeface="Calibri" panose="020F0502020204030204"/>
              </a:rPr>
            </a:br>
            <a:r>
              <a:rPr lang="en-US" b="1">
                <a:solidFill>
                  <a:srgbClr val="00587B"/>
                </a:solidFill>
                <a:latin typeface="Calibri" panose="020F0502020204030204"/>
              </a:rPr>
              <a:t>provide their remarks in a civil manner.</a:t>
            </a:r>
            <a:endParaRPr lang="en-US" b="1">
              <a:solidFill>
                <a:srgbClr val="00587B"/>
              </a:solidFill>
              <a:latin typeface="Calibri" panose="020F0502020204030204"/>
              <a:cs typeface="Calibri"/>
            </a:endParaRPr>
          </a:p>
        </p:txBody>
      </p:sp>
      <p:cxnSp>
        <p:nvCxnSpPr>
          <p:cNvPr id="6" name="Straight Connector 5">
            <a:extLst>
              <a:ext uri="{FF2B5EF4-FFF2-40B4-BE49-F238E27FC236}">
                <a16:creationId xmlns:a16="http://schemas.microsoft.com/office/drawing/2014/main" id="{93B2F899-AEAC-3B4C-A8CB-00A9DD5AA08C}"/>
              </a:ext>
            </a:extLst>
          </p:cNvPr>
          <p:cNvCxnSpPr/>
          <p:nvPr/>
        </p:nvCxnSpPr>
        <p:spPr>
          <a:xfrm>
            <a:off x="430463" y="1776685"/>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44DF1EF6-1863-C54B-9593-8FF3E902F395}"/>
              </a:ext>
            </a:extLst>
          </p:cNvPr>
          <p:cNvCxnSpPr/>
          <p:nvPr/>
        </p:nvCxnSpPr>
        <p:spPr>
          <a:xfrm>
            <a:off x="430455" y="2818658"/>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8" name="Straight Connector 7">
            <a:extLst>
              <a:ext uri="{FF2B5EF4-FFF2-40B4-BE49-F238E27FC236}">
                <a16:creationId xmlns:a16="http://schemas.microsoft.com/office/drawing/2014/main" id="{4B6939CB-C96F-6344-825A-05BF5E8CFE73}"/>
              </a:ext>
            </a:extLst>
          </p:cNvPr>
          <p:cNvCxnSpPr/>
          <p:nvPr/>
        </p:nvCxnSpPr>
        <p:spPr>
          <a:xfrm>
            <a:off x="430463" y="3654049"/>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D04A1703-8ABE-FB4D-8E3A-C5ADEBF9142E}"/>
              </a:ext>
            </a:extLst>
          </p:cNvPr>
          <p:cNvCxnSpPr/>
          <p:nvPr/>
        </p:nvCxnSpPr>
        <p:spPr>
          <a:xfrm>
            <a:off x="430463" y="4460368"/>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C88B66F7-1C6B-384E-B64D-4CE0FEC607D9}"/>
              </a:ext>
            </a:extLst>
          </p:cNvPr>
          <p:cNvCxnSpPr/>
          <p:nvPr/>
        </p:nvCxnSpPr>
        <p:spPr>
          <a:xfrm>
            <a:off x="430455" y="5521736"/>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2" name="Slide Number Placeholder 4">
            <a:extLst>
              <a:ext uri="{FF2B5EF4-FFF2-40B4-BE49-F238E27FC236}">
                <a16:creationId xmlns:a16="http://schemas.microsoft.com/office/drawing/2014/main" id="{80DCA7ED-1789-435F-9C69-71E0F574211D}"/>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pPr marL="0" marR="0" lvl="0" indent="0" algn="r" defTabSz="914341" rtl="0" eaLnBrk="1" fontAlgn="auto" latinLnBrk="0" hangingPunct="1">
              <a:lnSpc>
                <a:spcPct val="100000"/>
              </a:lnSpc>
              <a:spcBef>
                <a:spcPts val="0"/>
              </a:spcBef>
              <a:spcAft>
                <a:spcPts val="0"/>
              </a:spcAft>
              <a:buClrTx/>
              <a:buSzTx/>
              <a:buFontTx/>
              <a:buNone/>
              <a:tabLst/>
              <a:defRPr/>
            </a:pPr>
            <a:fld id="{6358EE78-369A-4A83-91BE-CE1CDBA0BAF0}" type="slidenum">
              <a:rPr lang="en-US" sz="1100" b="1">
                <a:solidFill>
                  <a:srgbClr val="FFFFFF">
                    <a:lumMod val="65000"/>
                  </a:srgbClr>
                </a:solidFill>
                <a:latin typeface="Calibri" panose="020F0502020204030204"/>
              </a:rPr>
              <a:pPr marL="0" marR="0" lvl="0" indent="0" algn="r" defTabSz="914341" rtl="0" eaLnBrk="1" fontAlgn="auto" latinLnBrk="0" hangingPunct="1">
                <a:lnSpc>
                  <a:spcPct val="100000"/>
                </a:lnSpc>
                <a:spcBef>
                  <a:spcPts val="0"/>
                </a:spcBef>
                <a:spcAft>
                  <a:spcPts val="0"/>
                </a:spcAft>
                <a:buClrTx/>
                <a:buSzTx/>
                <a:buFontTx/>
                <a:buNone/>
                <a:tabLst/>
                <a:defRPr/>
              </a:pPr>
              <a:t>4</a:t>
            </a:fld>
            <a:endParaRPr lang="en-US" sz="1100" b="1">
              <a:solidFill>
                <a:srgbClr val="FFFFFF">
                  <a:lumMod val="65000"/>
                </a:srgbClr>
              </a:solidFill>
              <a:latin typeface="Calibri" panose="020F0502020204030204"/>
            </a:endParaRPr>
          </a:p>
        </p:txBody>
      </p:sp>
      <p:grpSp>
        <p:nvGrpSpPr>
          <p:cNvPr id="2" name="Group 1">
            <a:extLst>
              <a:ext uri="{FF2B5EF4-FFF2-40B4-BE49-F238E27FC236}">
                <a16:creationId xmlns:a16="http://schemas.microsoft.com/office/drawing/2014/main" id="{2AFD34E7-B046-B711-F503-79B30F52C626}"/>
              </a:ext>
            </a:extLst>
          </p:cNvPr>
          <p:cNvGrpSpPr/>
          <p:nvPr/>
        </p:nvGrpSpPr>
        <p:grpSpPr>
          <a:xfrm>
            <a:off x="9968911" y="5899336"/>
            <a:ext cx="1896852" cy="861934"/>
            <a:chOff x="9968911" y="5899336"/>
            <a:chExt cx="1896852" cy="861934"/>
          </a:xfrm>
        </p:grpSpPr>
        <p:sp>
          <p:nvSpPr>
            <p:cNvPr id="3" name="Rectangle 2">
              <a:extLst>
                <a:ext uri="{FF2B5EF4-FFF2-40B4-BE49-F238E27FC236}">
                  <a16:creationId xmlns:a16="http://schemas.microsoft.com/office/drawing/2014/main" id="{CB471C6C-1E53-101E-6AD3-FD8CE42308B2}"/>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Icon&#10;&#10;Description automatically generated">
              <a:extLst>
                <a:ext uri="{FF2B5EF4-FFF2-40B4-BE49-F238E27FC236}">
                  <a16:creationId xmlns:a16="http://schemas.microsoft.com/office/drawing/2014/main" id="{01C996E6-F56A-DC16-6398-18E5A15B0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3" name="AutoShape 11">
            <a:extLst>
              <a:ext uri="{FF2B5EF4-FFF2-40B4-BE49-F238E27FC236}">
                <a16:creationId xmlns:a16="http://schemas.microsoft.com/office/drawing/2014/main" id="{B64CE629-CB15-621C-2A69-7BDF90ECDD61}"/>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4" name="AutoShape 10">
            <a:extLst>
              <a:ext uri="{FF2B5EF4-FFF2-40B4-BE49-F238E27FC236}">
                <a16:creationId xmlns:a16="http://schemas.microsoft.com/office/drawing/2014/main" id="{4D7CDDEF-2897-FD2A-0D68-6FF6B99CB6AB}"/>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5" name="Isosceles Triangle 25">
            <a:extLst>
              <a:ext uri="{FF2B5EF4-FFF2-40B4-BE49-F238E27FC236}">
                <a16:creationId xmlns:a16="http://schemas.microsoft.com/office/drawing/2014/main" id="{346FEC52-8A12-46E7-5030-45DCE74E9DA0}"/>
              </a:ext>
            </a:extLst>
          </p:cNvPr>
          <p:cNvSpPr/>
          <p:nvPr/>
        </p:nvSpPr>
        <p:spPr>
          <a:xfrm rot="10800000">
            <a:off x="6781800" y="-42809"/>
            <a:ext cx="5410200" cy="122088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rgbClr val="84BD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Tree>
    <p:extLst>
      <p:ext uri="{BB962C8B-B14F-4D97-AF65-F5344CB8AC3E}">
        <p14:creationId xmlns:p14="http://schemas.microsoft.com/office/powerpoint/2010/main" val="1989297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2F9CFC-6509-7C4D-9256-108B46BF5CB6}"/>
              </a:ext>
            </a:extLst>
          </p:cNvPr>
          <p:cNvSpPr/>
          <p:nvPr/>
        </p:nvSpPr>
        <p:spPr>
          <a:xfrm>
            <a:off x="-16516" y="3323808"/>
            <a:ext cx="12201527" cy="1123818"/>
          </a:xfrm>
          <a:prstGeom prst="rect">
            <a:avLst/>
          </a:prstGeom>
          <a:solidFill>
            <a:srgbClr val="84BD00">
              <a:alpha val="29804"/>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20" name="Title 1">
            <a:extLst>
              <a:ext uri="{FF2B5EF4-FFF2-40B4-BE49-F238E27FC236}">
                <a16:creationId xmlns:a16="http://schemas.microsoft.com/office/drawing/2014/main" id="{B9266A61-0D93-4F98-AF1D-EB60F63B0D14}"/>
              </a:ext>
            </a:extLst>
          </p:cNvPr>
          <p:cNvSpPr txBox="1">
            <a:spLocks/>
          </p:cNvSpPr>
          <p:nvPr/>
        </p:nvSpPr>
        <p:spPr bwMode="auto">
          <a:xfrm>
            <a:off x="511667" y="275382"/>
            <a:ext cx="102859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lang="en-US" sz="3600" b="1" kern="0">
                <a:solidFill>
                  <a:srgbClr val="00587B"/>
                </a:solidFill>
                <a:latin typeface="Calibri" panose="020F0502020204030204"/>
              </a:rPr>
              <a:t>Please Note</a:t>
            </a:r>
            <a:endParaRPr lang="en-US" sz="3600" kern="0">
              <a:solidFill>
                <a:srgbClr val="00587B"/>
              </a:solidFill>
              <a:latin typeface="Calibri" panose="020F0502020204030204"/>
              <a:cs typeface="Calibri"/>
            </a:endParaRPr>
          </a:p>
        </p:txBody>
      </p:sp>
      <p:sp>
        <p:nvSpPr>
          <p:cNvPr id="8" name="Rectangle 7">
            <a:extLst>
              <a:ext uri="{FF2B5EF4-FFF2-40B4-BE49-F238E27FC236}">
                <a16:creationId xmlns:a16="http://schemas.microsoft.com/office/drawing/2014/main" id="{4DD0835C-DD19-4060-A22F-6577E469E02B}"/>
              </a:ext>
            </a:extLst>
          </p:cNvPr>
          <p:cNvSpPr/>
          <p:nvPr/>
        </p:nvSpPr>
        <p:spPr>
          <a:xfrm>
            <a:off x="554624" y="1784826"/>
            <a:ext cx="11151518" cy="3847207"/>
          </a:xfrm>
          <a:prstGeom prst="rect">
            <a:avLst/>
          </a:prstGeom>
        </p:spPr>
        <p:txBody>
          <a:bodyPr wrap="square" lIns="91440" tIns="45720" rIns="91440" bIns="45720" numCol="1" spcCol="914400" anchor="t">
            <a:spAutoFit/>
          </a:bodyPr>
          <a:lstStyle/>
          <a:p>
            <a:pPr>
              <a:spcBef>
                <a:spcPts val="1200"/>
              </a:spcBef>
              <a:buClr>
                <a:srgbClr val="83BD00"/>
              </a:buClr>
              <a:defRPr/>
            </a:pPr>
            <a:r>
              <a:rPr lang="en-US" sz="2800">
                <a:solidFill>
                  <a:srgbClr val="000000"/>
                </a:solidFill>
                <a:latin typeface="Calibri" panose="020F0502020204030204"/>
                <a:cs typeface="Calibri"/>
              </a:rPr>
              <a:t>Non-highlighted text indicates areas where the NJEDA has used the rules to add clarity to the legislation</a:t>
            </a:r>
          </a:p>
          <a:p>
            <a:pPr marL="0" marR="0" lvl="0" indent="0" algn="l" defTabSz="914341" rtl="0" eaLnBrk="1" fontAlgn="auto" latinLnBrk="0" hangingPunct="1">
              <a:lnSpc>
                <a:spcPct val="100000"/>
              </a:lnSpc>
              <a:spcBef>
                <a:spcPts val="1200"/>
              </a:spcBef>
              <a:spcAft>
                <a:spcPts val="0"/>
              </a:spcAft>
              <a:buClr>
                <a:srgbClr val="83BD00"/>
              </a:buClr>
              <a:buSzTx/>
              <a:buFontTx/>
              <a:buNone/>
              <a:tabLst/>
              <a:defRPr/>
            </a:pPr>
            <a:endParaRPr lang="en-US" sz="2800">
              <a:solidFill>
                <a:srgbClr val="000000"/>
              </a:solidFill>
              <a:latin typeface="Calibri" panose="020F0502020204030204"/>
              <a:cs typeface="Calibri"/>
            </a:endParaRPr>
          </a:p>
          <a:p>
            <a:pPr marL="0" marR="0" lvl="0" indent="0" algn="l" defTabSz="914341" rtl="0" eaLnBrk="1" fontAlgn="auto" latinLnBrk="0" hangingPunct="1">
              <a:lnSpc>
                <a:spcPct val="100000"/>
              </a:lnSpc>
              <a:spcBef>
                <a:spcPts val="1200"/>
              </a:spcBef>
              <a:spcAft>
                <a:spcPts val="0"/>
              </a:spcAft>
              <a:buClr>
                <a:srgbClr val="83BD00"/>
              </a:buClr>
              <a:buSzTx/>
              <a:buFontTx/>
              <a:buNone/>
              <a:tabLst/>
              <a:defRPr/>
            </a:pPr>
            <a:r>
              <a:rPr lang="en-US" sz="2800">
                <a:solidFill>
                  <a:srgbClr val="000000"/>
                </a:solidFill>
                <a:latin typeface="Calibri" panose="020F0502020204030204"/>
                <a:cs typeface="Calibri"/>
              </a:rPr>
              <a:t>Highlighted text is written into law which NJEDA does not have discretion to change </a:t>
            </a:r>
          </a:p>
          <a:p>
            <a:pPr marL="0" marR="0" lvl="0" indent="0" algn="l" defTabSz="914341" rtl="0" eaLnBrk="1" fontAlgn="auto" latinLnBrk="0" hangingPunct="1">
              <a:lnSpc>
                <a:spcPct val="100000"/>
              </a:lnSpc>
              <a:spcBef>
                <a:spcPts val="1200"/>
              </a:spcBef>
              <a:spcAft>
                <a:spcPts val="0"/>
              </a:spcAft>
              <a:buClr>
                <a:srgbClr val="83BD00"/>
              </a:buClr>
              <a:buSzTx/>
              <a:buFontTx/>
              <a:buNone/>
              <a:tabLst/>
              <a:defRPr/>
            </a:pPr>
            <a:endParaRPr lang="en-US">
              <a:solidFill>
                <a:srgbClr val="000000"/>
              </a:solidFill>
              <a:highlight>
                <a:srgbClr val="F8FFE7"/>
              </a:highlight>
              <a:latin typeface="Calibri" panose="020F0502020204030204"/>
              <a:cs typeface="Calibri"/>
            </a:endParaRPr>
          </a:p>
          <a:p>
            <a:pPr marL="0" marR="0" lvl="0" indent="0" algn="l" defTabSz="914341" rtl="0" eaLnBrk="1" fontAlgn="auto" latinLnBrk="0" hangingPunct="1">
              <a:lnSpc>
                <a:spcPct val="100000"/>
              </a:lnSpc>
              <a:spcBef>
                <a:spcPts val="1200"/>
              </a:spcBef>
              <a:spcAft>
                <a:spcPts val="0"/>
              </a:spcAft>
              <a:buClr>
                <a:srgbClr val="83BD00"/>
              </a:buClr>
              <a:buSzTx/>
              <a:buFontTx/>
              <a:buNone/>
              <a:tabLst/>
              <a:defRPr/>
            </a:pPr>
            <a:endParaRPr lang="en-US" b="1">
              <a:solidFill>
                <a:srgbClr val="000000"/>
              </a:solidFill>
              <a:latin typeface="Calibri" panose="020F0502020204030204"/>
              <a:cs typeface="Calibri" panose="020F0502020204030204"/>
            </a:endParaRPr>
          </a:p>
          <a:p>
            <a:pPr marL="0" marR="0" lvl="0" indent="0" algn="l" defTabSz="914341" rtl="0" eaLnBrk="1" fontAlgn="auto" latinLnBrk="0" hangingPunct="1">
              <a:lnSpc>
                <a:spcPct val="100000"/>
              </a:lnSpc>
              <a:spcBef>
                <a:spcPts val="1200"/>
              </a:spcBef>
              <a:spcAft>
                <a:spcPts val="0"/>
              </a:spcAft>
              <a:buClr>
                <a:srgbClr val="83BD00"/>
              </a:buClr>
              <a:buSzTx/>
              <a:buFontTx/>
              <a:buNone/>
              <a:tabLst/>
              <a:defRPr/>
            </a:pPr>
            <a:endParaRPr lang="en-US">
              <a:solidFill>
                <a:srgbClr val="00587B"/>
              </a:solidFill>
              <a:latin typeface="Calibri" panose="020F0502020204030204"/>
              <a:cs typeface="Calibri" panose="020F0502020204030204"/>
            </a:endParaRPr>
          </a:p>
        </p:txBody>
      </p:sp>
      <p:sp>
        <p:nvSpPr>
          <p:cNvPr id="10" name="Triangle 9">
            <a:extLst>
              <a:ext uri="{FF2B5EF4-FFF2-40B4-BE49-F238E27FC236}">
                <a16:creationId xmlns:a16="http://schemas.microsoft.com/office/drawing/2014/main" id="{82BFC54D-60C1-7045-B7EA-4488AB645D08}"/>
              </a:ext>
            </a:extLst>
          </p:cNvPr>
          <p:cNvSpPr/>
          <p:nvPr/>
        </p:nvSpPr>
        <p:spPr>
          <a:xfrm rot="5400000">
            <a:off x="-330008" y="3647539"/>
            <a:ext cx="1123818" cy="482852"/>
          </a:xfrm>
          <a:prstGeom prst="triangle">
            <a:avLst/>
          </a:pr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4" name="Rectangle 3">
            <a:extLst>
              <a:ext uri="{FF2B5EF4-FFF2-40B4-BE49-F238E27FC236}">
                <a16:creationId xmlns:a16="http://schemas.microsoft.com/office/drawing/2014/main" id="{47B039D0-B8B7-4B1E-94D2-2D8FC5696249}"/>
              </a:ext>
            </a:extLst>
          </p:cNvPr>
          <p:cNvSpPr/>
          <p:nvPr/>
        </p:nvSpPr>
        <p:spPr>
          <a:xfrm>
            <a:off x="418031" y="1160864"/>
            <a:ext cx="7599059" cy="523220"/>
          </a:xfrm>
          <a:prstGeom prst="rect">
            <a:avLst/>
          </a:prstGeom>
        </p:spPr>
        <p:txBody>
          <a:bodyPr wrap="square" lIns="91440" tIns="45720" rIns="91440" bIns="45720" anchor="t">
            <a:spAutoFit/>
          </a:bodyPr>
          <a:lstStyle/>
          <a:p>
            <a:pPr marL="0" marR="0" lvl="0" indent="0" algn="l" defTabSz="914341" rtl="0" eaLnBrk="1" fontAlgn="auto" latinLnBrk="0" hangingPunct="1">
              <a:lnSpc>
                <a:spcPct val="100000"/>
              </a:lnSpc>
              <a:spcBef>
                <a:spcPts val="0"/>
              </a:spcBef>
              <a:spcAft>
                <a:spcPts val="0"/>
              </a:spcAft>
              <a:buClrTx/>
              <a:buSzTx/>
              <a:buFontTx/>
              <a:buNone/>
              <a:tabLst/>
              <a:defRPr/>
            </a:pPr>
            <a:r>
              <a:rPr lang="en-US" sz="2800" b="1">
                <a:solidFill>
                  <a:srgbClr val="000000"/>
                </a:solidFill>
                <a:latin typeface="Calibri" panose="020F0502020204030204"/>
              </a:rPr>
              <a:t>For this presentation, please note the following:</a:t>
            </a:r>
            <a:endParaRPr lang="en-US" sz="2800" b="1">
              <a:solidFill>
                <a:srgbClr val="000000"/>
              </a:solidFill>
              <a:latin typeface="Calibri" panose="020F0502020204030204"/>
              <a:cs typeface="Calibri"/>
            </a:endParaRPr>
          </a:p>
        </p:txBody>
      </p:sp>
      <p:sp>
        <p:nvSpPr>
          <p:cNvPr id="13" name="Triangle 12">
            <a:extLst>
              <a:ext uri="{FF2B5EF4-FFF2-40B4-BE49-F238E27FC236}">
                <a16:creationId xmlns:a16="http://schemas.microsoft.com/office/drawing/2014/main" id="{4AAE3C86-C8EE-C34C-BF1E-B94B05217948}"/>
              </a:ext>
            </a:extLst>
          </p:cNvPr>
          <p:cNvSpPr/>
          <p:nvPr/>
        </p:nvSpPr>
        <p:spPr>
          <a:xfrm rot="5400000">
            <a:off x="-291668" y="2105309"/>
            <a:ext cx="1123818" cy="482852"/>
          </a:xfrm>
          <a:prstGeom prst="triangle">
            <a:avLst/>
          </a:pr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lang="en-US">
              <a:solidFill>
                <a:srgbClr val="FFFFFF"/>
              </a:solidFill>
              <a:latin typeface="Calibri" panose="020F0502020204030204"/>
            </a:endParaRPr>
          </a:p>
        </p:txBody>
      </p:sp>
      <p:sp>
        <p:nvSpPr>
          <p:cNvPr id="14" name="Slide Number Placeholder 4">
            <a:extLst>
              <a:ext uri="{FF2B5EF4-FFF2-40B4-BE49-F238E27FC236}">
                <a16:creationId xmlns:a16="http://schemas.microsoft.com/office/drawing/2014/main" id="{4DFDECD7-5002-476D-9DFD-080FC164F68F}"/>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pPr/>
              <a:t>5</a:t>
            </a:fld>
            <a:endParaRPr lang="en-US" sz="1100" b="1"/>
          </a:p>
        </p:txBody>
      </p:sp>
      <p:grpSp>
        <p:nvGrpSpPr>
          <p:cNvPr id="3" name="Group 2">
            <a:extLst>
              <a:ext uri="{FF2B5EF4-FFF2-40B4-BE49-F238E27FC236}">
                <a16:creationId xmlns:a16="http://schemas.microsoft.com/office/drawing/2014/main" id="{233C2587-83B2-393E-6A42-1A5F05212410}"/>
              </a:ext>
            </a:extLst>
          </p:cNvPr>
          <p:cNvGrpSpPr/>
          <p:nvPr/>
        </p:nvGrpSpPr>
        <p:grpSpPr>
          <a:xfrm>
            <a:off x="9968911" y="5899336"/>
            <a:ext cx="1896852" cy="861934"/>
            <a:chOff x="9968911" y="5899336"/>
            <a:chExt cx="1896852" cy="861934"/>
          </a:xfrm>
        </p:grpSpPr>
        <p:sp>
          <p:nvSpPr>
            <p:cNvPr id="5" name="Rectangle 4">
              <a:extLst>
                <a:ext uri="{FF2B5EF4-FFF2-40B4-BE49-F238E27FC236}">
                  <a16:creationId xmlns:a16="http://schemas.microsoft.com/office/drawing/2014/main" id="{2CAD1313-72B5-9DB9-A48D-8AC5DD7D491F}"/>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Icon&#10;&#10;Description automatically generated">
              <a:extLst>
                <a:ext uri="{FF2B5EF4-FFF2-40B4-BE49-F238E27FC236}">
                  <a16:creationId xmlns:a16="http://schemas.microsoft.com/office/drawing/2014/main" id="{832D95B6-F83B-A8B2-DC52-EF2CB397E1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7" name="AutoShape 11">
            <a:extLst>
              <a:ext uri="{FF2B5EF4-FFF2-40B4-BE49-F238E27FC236}">
                <a16:creationId xmlns:a16="http://schemas.microsoft.com/office/drawing/2014/main" id="{D9C68B6B-B944-512D-3879-643790636F6F}"/>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9" name="AutoShape 10">
            <a:extLst>
              <a:ext uri="{FF2B5EF4-FFF2-40B4-BE49-F238E27FC236}">
                <a16:creationId xmlns:a16="http://schemas.microsoft.com/office/drawing/2014/main" id="{EB19AE38-CBFC-AAF2-F0C4-93B8B6DC6D98}"/>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
        <p:nvSpPr>
          <p:cNvPr id="12" name="Isosceles Triangle 25">
            <a:extLst>
              <a:ext uri="{FF2B5EF4-FFF2-40B4-BE49-F238E27FC236}">
                <a16:creationId xmlns:a16="http://schemas.microsoft.com/office/drawing/2014/main" id="{CAD08D4D-69F1-7662-5FCE-43EFDEA1387D}"/>
              </a:ext>
            </a:extLst>
          </p:cNvPr>
          <p:cNvSpPr/>
          <p:nvPr/>
        </p:nvSpPr>
        <p:spPr>
          <a:xfrm rot="10800000">
            <a:off x="6868882" y="-32724"/>
            <a:ext cx="5410202" cy="1192309"/>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ln>
            <a:solidFill>
              <a:srgbClr val="0059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742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0231BF-BD90-240D-DC5A-70C08228A3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87" t="-420" r="-235" b="210"/>
          <a:stretch/>
        </p:blipFill>
        <p:spPr bwMode="auto">
          <a:xfrm>
            <a:off x="20" y="1282"/>
            <a:ext cx="12200870" cy="6871062"/>
          </a:xfrm>
          <a:prstGeom prst="rect">
            <a:avLst/>
          </a:prstGeom>
          <a:noFill/>
          <a:extLst>
            <a:ext uri="{909E8E84-426E-40DD-AFC4-6F175D3DCCD1}">
              <a14:hiddenFill xmlns:a14="http://schemas.microsoft.com/office/drawing/2010/main">
                <a:solidFill>
                  <a:srgbClr val="FFFFFF"/>
                </a:solidFill>
              </a14:hiddenFill>
            </a:ext>
          </a:extLst>
        </p:spPr>
      </p:pic>
      <p:sp>
        <p:nvSpPr>
          <p:cNvPr id="2076" name="Rectangle 206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E5C5DF3C-773D-5BC5-2B5B-75A0B49B93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1112" y="5071830"/>
            <a:ext cx="3149078" cy="1830082"/>
          </a:xfrm>
          <a:prstGeom prst="rect">
            <a:avLst/>
          </a:prstGeom>
        </p:spPr>
      </p:pic>
    </p:spTree>
    <p:extLst>
      <p:ext uri="{BB962C8B-B14F-4D97-AF65-F5344CB8AC3E}">
        <p14:creationId xmlns:p14="http://schemas.microsoft.com/office/powerpoint/2010/main" val="3281264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D4DE726-1B55-DA86-0874-677D57286436}"/>
              </a:ext>
            </a:extLst>
          </p:cNvPr>
          <p:cNvSpPr/>
          <p:nvPr/>
        </p:nvSpPr>
        <p:spPr>
          <a:xfrm>
            <a:off x="7462727" y="1446821"/>
            <a:ext cx="4203403" cy="3904577"/>
          </a:xfrm>
          <a:prstGeom prst="rect">
            <a:avLst/>
          </a:prstGeom>
          <a:solidFill>
            <a:srgbClr val="0059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itle 1">
            <a:extLst>
              <a:ext uri="{FF2B5EF4-FFF2-40B4-BE49-F238E27FC236}">
                <a16:creationId xmlns:a16="http://schemas.microsoft.com/office/drawing/2014/main" id="{3786A348-8D8E-448B-894F-BCAA5F0DB8B6}"/>
              </a:ext>
            </a:extLst>
          </p:cNvPr>
          <p:cNvSpPr>
            <a:spLocks noGrp="1"/>
          </p:cNvSpPr>
          <p:nvPr>
            <p:ph type="title"/>
          </p:nvPr>
        </p:nvSpPr>
        <p:spPr>
          <a:xfrm>
            <a:off x="608367" y="284372"/>
            <a:ext cx="10515600" cy="577949"/>
          </a:xfrm>
        </p:spPr>
        <p:txBody>
          <a:bodyPr anchor="t">
            <a:noAutofit/>
          </a:bodyPr>
          <a:lstStyle/>
          <a:p>
            <a:r>
              <a:rPr lang="en-US" sz="3600">
                <a:solidFill>
                  <a:srgbClr val="00587B"/>
                </a:solidFill>
                <a:latin typeface="Calibri" panose="020F0502020204030204"/>
                <a:cs typeface="Calibri"/>
              </a:rPr>
              <a:t>Introduction</a:t>
            </a:r>
          </a:p>
        </p:txBody>
      </p:sp>
      <p:sp>
        <p:nvSpPr>
          <p:cNvPr id="4" name="Rectangle 3">
            <a:extLst>
              <a:ext uri="{FF2B5EF4-FFF2-40B4-BE49-F238E27FC236}">
                <a16:creationId xmlns:a16="http://schemas.microsoft.com/office/drawing/2014/main" id="{B82429DC-FF99-42EE-AA16-70B0B9ECBFBF}"/>
              </a:ext>
            </a:extLst>
          </p:cNvPr>
          <p:cNvSpPr/>
          <p:nvPr/>
        </p:nvSpPr>
        <p:spPr>
          <a:xfrm>
            <a:off x="608367" y="1089278"/>
            <a:ext cx="5654927" cy="4031873"/>
          </a:xfrm>
          <a:prstGeom prst="rect">
            <a:avLst/>
          </a:prstGeom>
        </p:spPr>
        <p:txBody>
          <a:bodyPr wrap="square" lIns="91440" tIns="45720" rIns="91440" bIns="45720" anchor="t">
            <a:spAutoFit/>
          </a:bodyPr>
          <a:lstStyle/>
          <a:p>
            <a:r>
              <a:rPr lang="en-US" sz="2000" b="1">
                <a:solidFill>
                  <a:srgbClr val="000000"/>
                </a:solidFill>
                <a:latin typeface="Calibri"/>
                <a:cs typeface="Calibri"/>
              </a:rPr>
              <a:t>The Next NJ Program - AI </a:t>
            </a:r>
            <a:r>
              <a:rPr lang="en-US" sz="2000">
                <a:solidFill>
                  <a:srgbClr val="000000"/>
                </a:solidFill>
                <a:latin typeface="Calibri"/>
                <a:cs typeface="Calibri"/>
              </a:rPr>
              <a:t>is a robust tax credit program aimed at: </a:t>
            </a:r>
          </a:p>
          <a:p>
            <a:endParaRPr lang="en-US" sz="2000">
              <a:solidFill>
                <a:srgbClr val="000000"/>
              </a:solidFill>
              <a:latin typeface="Calibri"/>
              <a:cs typeface="Calibri"/>
            </a:endParaRPr>
          </a:p>
          <a:p>
            <a:pPr marL="342900" indent="-342900">
              <a:buFont typeface="Arial,Sans-Serif"/>
              <a:buChar char="•"/>
            </a:pPr>
            <a:r>
              <a:rPr lang="en-US" sz="2000">
                <a:solidFill>
                  <a:srgbClr val="000000"/>
                </a:solidFill>
                <a:latin typeface="Calibri"/>
                <a:cs typeface="Calibri"/>
              </a:rPr>
              <a:t>Attracting significant investment. </a:t>
            </a:r>
          </a:p>
          <a:p>
            <a:pPr marL="342900" indent="-342900">
              <a:buFont typeface="Arial,Sans-Serif"/>
              <a:buChar char="•"/>
            </a:pPr>
            <a:r>
              <a:rPr lang="en-US" sz="2000">
                <a:solidFill>
                  <a:srgbClr val="000000"/>
                </a:solidFill>
                <a:latin typeface="Calibri"/>
                <a:cs typeface="Calibri"/>
              </a:rPr>
              <a:t>Creating high-paying jobs.</a:t>
            </a:r>
          </a:p>
          <a:p>
            <a:pPr marL="342900" indent="-342900">
              <a:buFont typeface="Arial,Sans-Serif"/>
              <a:buChar char="•"/>
            </a:pPr>
            <a:r>
              <a:rPr lang="en-US" sz="2000">
                <a:solidFill>
                  <a:srgbClr val="000000"/>
                </a:solidFill>
                <a:latin typeface="Calibri"/>
                <a:cs typeface="Calibri"/>
              </a:rPr>
              <a:t>Cementing New Jersey's position as a leader in the AI industry economy.  </a:t>
            </a:r>
          </a:p>
          <a:p>
            <a:endParaRPr lang="en-US" sz="2000">
              <a:solidFill>
                <a:srgbClr val="000000"/>
              </a:solidFill>
              <a:latin typeface="Calibri"/>
              <a:cs typeface="Calibri"/>
            </a:endParaRPr>
          </a:p>
          <a:p>
            <a:r>
              <a:rPr lang="en-US" sz="2000">
                <a:solidFill>
                  <a:srgbClr val="000000"/>
                </a:solidFill>
                <a:latin typeface="Calibri"/>
                <a:cs typeface="Calibri"/>
              </a:rPr>
              <a:t>It offers competitive incentives for companies ready to invest in New Jersey's AI sector and commit to the state's long-term growth. </a:t>
            </a:r>
            <a:endParaRPr lang="en-US" sz="2000"/>
          </a:p>
          <a:p>
            <a:pPr marL="455295" lvl="1">
              <a:spcBef>
                <a:spcPts val="1800"/>
              </a:spcBef>
              <a:buClr>
                <a:schemeClr val="accent2"/>
              </a:buClr>
            </a:pPr>
            <a:endParaRPr lang="en-US" sz="2100" b="1">
              <a:cs typeface="Arial"/>
            </a:endParaRPr>
          </a:p>
        </p:txBody>
      </p:sp>
      <p:pic>
        <p:nvPicPr>
          <p:cNvPr id="9" name="Picture 8">
            <a:extLst>
              <a:ext uri="{FF2B5EF4-FFF2-40B4-BE49-F238E27FC236}">
                <a16:creationId xmlns:a16="http://schemas.microsoft.com/office/drawing/2014/main" id="{8C06DA81-8F14-41B8-9282-8DD1D3FAD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1526" y="5912560"/>
            <a:ext cx="1430383" cy="960120"/>
          </a:xfrm>
          <a:prstGeom prst="rect">
            <a:avLst/>
          </a:prstGeom>
        </p:spPr>
      </p:pic>
      <p:sp>
        <p:nvSpPr>
          <p:cNvPr id="10" name="Slide Number Placeholder 4">
            <a:extLst>
              <a:ext uri="{FF2B5EF4-FFF2-40B4-BE49-F238E27FC236}">
                <a16:creationId xmlns:a16="http://schemas.microsoft.com/office/drawing/2014/main" id="{C09D0C8D-3024-479D-AABD-54095CA413E5}"/>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a:latin typeface="Calibri" panose="020F0502020204030204" pitchFamily="34" charset="0"/>
                <a:cs typeface="Calibri" panose="020F0502020204030204" pitchFamily="34" charset="0"/>
              </a:rPr>
              <a:pPr/>
              <a:t>7</a:t>
            </a:fld>
            <a:endParaRPr lang="en-US" sz="1100">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8788276A-5714-9F61-8DB1-FED3494D97A5}"/>
              </a:ext>
            </a:extLst>
          </p:cNvPr>
          <p:cNvGrpSpPr/>
          <p:nvPr/>
        </p:nvGrpSpPr>
        <p:grpSpPr>
          <a:xfrm>
            <a:off x="9968911" y="5899336"/>
            <a:ext cx="1896852" cy="861934"/>
            <a:chOff x="9968911" y="5899336"/>
            <a:chExt cx="1896852" cy="861934"/>
          </a:xfrm>
        </p:grpSpPr>
        <p:sp>
          <p:nvSpPr>
            <p:cNvPr id="8" name="Rectangle 7">
              <a:extLst>
                <a:ext uri="{FF2B5EF4-FFF2-40B4-BE49-F238E27FC236}">
                  <a16:creationId xmlns:a16="http://schemas.microsoft.com/office/drawing/2014/main" id="{69154560-8855-0A1C-037C-CD4F8B3FE2AC}"/>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D09767F4-CF17-EC8B-C333-68710A446E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sp>
        <p:nvSpPr>
          <p:cNvPr id="12" name="AutoShape 11">
            <a:extLst>
              <a:ext uri="{FF2B5EF4-FFF2-40B4-BE49-F238E27FC236}">
                <a16:creationId xmlns:a16="http://schemas.microsoft.com/office/drawing/2014/main" id="{8BA8FB2C-F44D-2D74-BBDD-3BDC0D4F40A8}"/>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3" name="AutoShape 10">
            <a:extLst>
              <a:ext uri="{FF2B5EF4-FFF2-40B4-BE49-F238E27FC236}">
                <a16:creationId xmlns:a16="http://schemas.microsoft.com/office/drawing/2014/main" id="{0C1A556B-47B8-1B4E-D9A4-E876004EC873}"/>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pic>
        <p:nvPicPr>
          <p:cNvPr id="6" name="Picture 5" descr="A football ball on a keyboard&#10;&#10;Description automatically generated with medium confidence">
            <a:extLst>
              <a:ext uri="{FF2B5EF4-FFF2-40B4-BE49-F238E27FC236}">
                <a16:creationId xmlns:a16="http://schemas.microsoft.com/office/drawing/2014/main" id="{297D28CF-7432-B5DD-9802-72EB312B5C77}"/>
              </a:ext>
            </a:extLst>
          </p:cNvPr>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7077053" y="1688088"/>
            <a:ext cx="4451237" cy="3662757"/>
          </a:xfrm>
          <a:prstGeom prst="rect">
            <a:avLst/>
          </a:prstGeom>
          <a:effectLst/>
        </p:spPr>
      </p:pic>
    </p:spTree>
    <p:extLst>
      <p:ext uri="{BB962C8B-B14F-4D97-AF65-F5344CB8AC3E}">
        <p14:creationId xmlns:p14="http://schemas.microsoft.com/office/powerpoint/2010/main" val="1983493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6A348-8D8E-448B-894F-BCAA5F0DB8B6}"/>
              </a:ext>
            </a:extLst>
          </p:cNvPr>
          <p:cNvSpPr>
            <a:spLocks noGrp="1"/>
          </p:cNvSpPr>
          <p:nvPr>
            <p:ph type="title"/>
          </p:nvPr>
        </p:nvSpPr>
        <p:spPr>
          <a:xfrm>
            <a:off x="612443" y="261335"/>
            <a:ext cx="10515600" cy="577949"/>
          </a:xfrm>
        </p:spPr>
        <p:txBody>
          <a:bodyPr anchor="t">
            <a:normAutofit fontScale="90000"/>
          </a:bodyPr>
          <a:lstStyle/>
          <a:p>
            <a:r>
              <a:rPr lang="en-US" sz="4000">
                <a:solidFill>
                  <a:srgbClr val="00587B"/>
                </a:solidFill>
                <a:latin typeface="Calibri" panose="020F0502020204030204"/>
                <a:cs typeface="Calibri"/>
              </a:rPr>
              <a:t>Introduction </a:t>
            </a:r>
            <a:endParaRPr lang="en-US" sz="4000">
              <a:solidFill>
                <a:srgbClr val="00587B"/>
              </a:solidFill>
              <a:latin typeface="Calibri" panose="020F0502020204030204"/>
            </a:endParaRPr>
          </a:p>
        </p:txBody>
      </p:sp>
      <p:sp>
        <p:nvSpPr>
          <p:cNvPr id="4" name="Rectangle 3">
            <a:extLst>
              <a:ext uri="{FF2B5EF4-FFF2-40B4-BE49-F238E27FC236}">
                <a16:creationId xmlns:a16="http://schemas.microsoft.com/office/drawing/2014/main" id="{B82429DC-FF99-42EE-AA16-70B0B9ECBFBF}"/>
              </a:ext>
            </a:extLst>
          </p:cNvPr>
          <p:cNvSpPr/>
          <p:nvPr/>
        </p:nvSpPr>
        <p:spPr>
          <a:xfrm>
            <a:off x="433248" y="1030115"/>
            <a:ext cx="11354239" cy="1352193"/>
          </a:xfrm>
          <a:prstGeom prst="rect">
            <a:avLst/>
          </a:prstGeom>
        </p:spPr>
        <p:txBody>
          <a:bodyPr wrap="square" lIns="91440" tIns="45720" rIns="91440" bIns="45720" anchor="t">
            <a:spAutoFit/>
          </a:bodyPr>
          <a:lstStyle/>
          <a:p>
            <a:pPr fontAlgn="base"/>
            <a:r>
              <a:rPr lang="en-US" sz="2000" b="1">
                <a:solidFill>
                  <a:srgbClr val="000000"/>
                </a:solidFill>
                <a:latin typeface="Calibri"/>
                <a:cs typeface="Calibri"/>
              </a:rPr>
              <a:t>The Next NJ Program-AI </a:t>
            </a:r>
            <a:r>
              <a:rPr lang="en-US" sz="2000">
                <a:solidFill>
                  <a:srgbClr val="000000"/>
                </a:solidFill>
                <a:latin typeface="Calibri"/>
                <a:cs typeface="Calibri"/>
              </a:rPr>
              <a:t>offers substantial tax credits to businesses that support the AI industry and are looking to start or grow their operations in New Jersey. The Next NJ Program awards tax credits to eligible businesses investing in large-scale AI data centers and AI-related development projects, including visual perception, speech recognition, decision-making, translation between languages, and generative AI. </a:t>
            </a:r>
          </a:p>
        </p:txBody>
      </p:sp>
      <p:pic>
        <p:nvPicPr>
          <p:cNvPr id="9" name="Picture 8">
            <a:extLst>
              <a:ext uri="{FF2B5EF4-FFF2-40B4-BE49-F238E27FC236}">
                <a16:creationId xmlns:a16="http://schemas.microsoft.com/office/drawing/2014/main" id="{8C06DA81-8F14-41B8-9282-8DD1D3FAD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1526" y="5912560"/>
            <a:ext cx="1430383" cy="960120"/>
          </a:xfrm>
          <a:prstGeom prst="rect">
            <a:avLst/>
          </a:prstGeom>
        </p:spPr>
      </p:pic>
      <p:sp>
        <p:nvSpPr>
          <p:cNvPr id="10" name="Slide Number Placeholder 4">
            <a:extLst>
              <a:ext uri="{FF2B5EF4-FFF2-40B4-BE49-F238E27FC236}">
                <a16:creationId xmlns:a16="http://schemas.microsoft.com/office/drawing/2014/main" id="{C09D0C8D-3024-479D-AABD-54095CA413E5}"/>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a:latin typeface="Calibri" panose="020F0502020204030204" pitchFamily="34" charset="0"/>
                <a:cs typeface="Calibri" panose="020F0502020204030204" pitchFamily="34" charset="0"/>
              </a:rPr>
              <a:pPr/>
              <a:t>8</a:t>
            </a:fld>
            <a:endParaRPr lang="en-US" sz="1100">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5D0EFB60-8DEA-1E3C-42A8-B04FA4EC4F6F}"/>
              </a:ext>
            </a:extLst>
          </p:cNvPr>
          <p:cNvGrpSpPr/>
          <p:nvPr/>
        </p:nvGrpSpPr>
        <p:grpSpPr>
          <a:xfrm>
            <a:off x="9968911" y="5899336"/>
            <a:ext cx="1896852" cy="861934"/>
            <a:chOff x="9968911" y="5899336"/>
            <a:chExt cx="1896852" cy="861934"/>
          </a:xfrm>
        </p:grpSpPr>
        <p:sp>
          <p:nvSpPr>
            <p:cNvPr id="6" name="Rectangle 5">
              <a:extLst>
                <a:ext uri="{FF2B5EF4-FFF2-40B4-BE49-F238E27FC236}">
                  <a16:creationId xmlns:a16="http://schemas.microsoft.com/office/drawing/2014/main" id="{A27CF277-5E9F-4536-FEC3-7C9D9541D993}"/>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con&#10;&#10;Description automatically generated">
              <a:extLst>
                <a:ext uri="{FF2B5EF4-FFF2-40B4-BE49-F238E27FC236}">
                  <a16:creationId xmlns:a16="http://schemas.microsoft.com/office/drawing/2014/main" id="{385ACDC4-90F3-B5EF-A8F3-70409CF18B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pic>
        <p:nvPicPr>
          <p:cNvPr id="8" name="Picture 7" descr="A picture containing text, electronics&#10;&#10;Description automatically generated">
            <a:extLst>
              <a:ext uri="{FF2B5EF4-FFF2-40B4-BE49-F238E27FC236}">
                <a16:creationId xmlns:a16="http://schemas.microsoft.com/office/drawing/2014/main" id="{62C75701-C885-A611-538F-CF56682DFE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6483" y="3691020"/>
            <a:ext cx="9956731" cy="2237508"/>
          </a:xfrm>
          <a:prstGeom prst="rect">
            <a:avLst/>
          </a:prstGeom>
        </p:spPr>
      </p:pic>
      <p:sp>
        <p:nvSpPr>
          <p:cNvPr id="13" name="TextBox 12">
            <a:extLst>
              <a:ext uri="{FF2B5EF4-FFF2-40B4-BE49-F238E27FC236}">
                <a16:creationId xmlns:a16="http://schemas.microsoft.com/office/drawing/2014/main" id="{6DB8711D-80F8-2A73-E47D-48DBECC7A71E}"/>
              </a:ext>
            </a:extLst>
          </p:cNvPr>
          <p:cNvSpPr txBox="1"/>
          <p:nvPr/>
        </p:nvSpPr>
        <p:spPr>
          <a:xfrm>
            <a:off x="444572" y="2388896"/>
            <a:ext cx="11342499" cy="1323439"/>
          </a:xfrm>
          <a:prstGeom prst="rect">
            <a:avLst/>
          </a:prstGeom>
          <a:noFill/>
        </p:spPr>
        <p:txBody>
          <a:bodyPr wrap="square">
            <a:spAutoFit/>
          </a:bodyPr>
          <a:lstStyle/>
          <a:p>
            <a:pPr marL="0" marR="0">
              <a:spcBef>
                <a:spcPts val="0"/>
              </a:spcBef>
              <a:spcAft>
                <a:spcPts val="0"/>
              </a:spcAft>
            </a:pPr>
            <a:r>
              <a:rPr lang="en-US" sz="2000">
                <a:solidFill>
                  <a:srgbClr val="000000"/>
                </a:solidFill>
                <a:latin typeface="Calibri"/>
                <a:ea typeface="Calibri" panose="020F0502020204030204" pitchFamily="34" charset="0"/>
                <a:cs typeface="Calibri"/>
              </a:rPr>
              <a:t>The Next NJ Program-AI  incentivizes collaboration and fosters a dynamic environment where established businesses and innovative startups can work together to achieve shared goals. The program is to include related company jobs, the applicant/awardee will need to secure the job reporting data for NJEDA validation. </a:t>
            </a:r>
            <a:endParaRPr lang="en-US" sz="2000">
              <a:solidFill>
                <a:srgbClr val="000000"/>
              </a:solidFill>
              <a:latin typeface="Calibri"/>
              <a:cs typeface="Calibri"/>
            </a:endParaRPr>
          </a:p>
        </p:txBody>
      </p:sp>
      <p:sp>
        <p:nvSpPr>
          <p:cNvPr id="17" name="AutoShape 11">
            <a:extLst>
              <a:ext uri="{FF2B5EF4-FFF2-40B4-BE49-F238E27FC236}">
                <a16:creationId xmlns:a16="http://schemas.microsoft.com/office/drawing/2014/main" id="{C362D3B6-44A2-1FBE-3E87-E68B632B8C36}"/>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18" name="AutoShape 10">
            <a:extLst>
              <a:ext uri="{FF2B5EF4-FFF2-40B4-BE49-F238E27FC236}">
                <a16:creationId xmlns:a16="http://schemas.microsoft.com/office/drawing/2014/main" id="{4BC3B0B5-425B-80B3-506E-3D3FAC00F8B7}"/>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2978907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Graphic 33" descr="Signature with solid fill">
            <a:extLst>
              <a:ext uri="{FF2B5EF4-FFF2-40B4-BE49-F238E27FC236}">
                <a16:creationId xmlns:a16="http://schemas.microsoft.com/office/drawing/2014/main" id="{48443658-FB1E-4C34-88F7-4C6B47E8DC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3327" y="1232635"/>
            <a:ext cx="502920" cy="502920"/>
          </a:xfrm>
          <a:prstGeom prst="rect">
            <a:avLst/>
          </a:prstGeom>
        </p:spPr>
      </p:pic>
      <p:pic>
        <p:nvPicPr>
          <p:cNvPr id="37" name="Graphic 36" descr="Group of men with solid fill">
            <a:extLst>
              <a:ext uri="{FF2B5EF4-FFF2-40B4-BE49-F238E27FC236}">
                <a16:creationId xmlns:a16="http://schemas.microsoft.com/office/drawing/2014/main" id="{4C952A71-9A96-47C5-8317-CFE2FB4E58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7544" y="3993203"/>
            <a:ext cx="502920" cy="502920"/>
          </a:xfrm>
          <a:prstGeom prst="rect">
            <a:avLst/>
          </a:prstGeom>
        </p:spPr>
      </p:pic>
      <p:pic>
        <p:nvPicPr>
          <p:cNvPr id="39" name="Graphic 38" descr="City with solid fill">
            <a:extLst>
              <a:ext uri="{FF2B5EF4-FFF2-40B4-BE49-F238E27FC236}">
                <a16:creationId xmlns:a16="http://schemas.microsoft.com/office/drawing/2014/main" id="{905864E8-9673-4BC2-BBE0-379CF29B69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7171" y="5783091"/>
            <a:ext cx="502920" cy="502920"/>
          </a:xfrm>
          <a:prstGeom prst="rect">
            <a:avLst/>
          </a:prstGeom>
        </p:spPr>
      </p:pic>
      <p:pic>
        <p:nvPicPr>
          <p:cNvPr id="51" name="Graphic 50" descr="Money">
            <a:extLst>
              <a:ext uri="{FF2B5EF4-FFF2-40B4-BE49-F238E27FC236}">
                <a16:creationId xmlns:a16="http://schemas.microsoft.com/office/drawing/2014/main" id="{D04B159D-20E4-42A9-9486-A0D61590BB1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3327" y="2210858"/>
            <a:ext cx="502920" cy="502920"/>
          </a:xfrm>
          <a:prstGeom prst="rect">
            <a:avLst/>
          </a:prstGeom>
        </p:spPr>
      </p:pic>
      <p:pic>
        <p:nvPicPr>
          <p:cNvPr id="54" name="Graphic 53" descr="Calculator">
            <a:extLst>
              <a:ext uri="{FF2B5EF4-FFF2-40B4-BE49-F238E27FC236}">
                <a16:creationId xmlns:a16="http://schemas.microsoft.com/office/drawing/2014/main" id="{CC5DA231-CF30-49EA-B741-C8B7795CCA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3327" y="3059649"/>
            <a:ext cx="502920" cy="502920"/>
          </a:xfrm>
          <a:prstGeom prst="rect">
            <a:avLst/>
          </a:prstGeom>
        </p:spPr>
      </p:pic>
      <p:pic>
        <p:nvPicPr>
          <p:cNvPr id="56" name="Graphic 55" descr="Bar graph with upward trend">
            <a:extLst>
              <a:ext uri="{FF2B5EF4-FFF2-40B4-BE49-F238E27FC236}">
                <a16:creationId xmlns:a16="http://schemas.microsoft.com/office/drawing/2014/main" id="{3D027F9B-BD68-4DAD-A24A-C6A969E9CC3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6094" y="4889480"/>
            <a:ext cx="502920" cy="502920"/>
          </a:xfrm>
          <a:prstGeom prst="rect">
            <a:avLst/>
          </a:prstGeom>
        </p:spPr>
      </p:pic>
      <p:sp>
        <p:nvSpPr>
          <p:cNvPr id="2" name="Title 1">
            <a:extLst>
              <a:ext uri="{FF2B5EF4-FFF2-40B4-BE49-F238E27FC236}">
                <a16:creationId xmlns:a16="http://schemas.microsoft.com/office/drawing/2014/main" id="{3786A348-8D8E-448B-894F-BCAA5F0DB8B6}"/>
              </a:ext>
            </a:extLst>
          </p:cNvPr>
          <p:cNvSpPr>
            <a:spLocks noGrp="1"/>
          </p:cNvSpPr>
          <p:nvPr>
            <p:ph type="title"/>
          </p:nvPr>
        </p:nvSpPr>
        <p:spPr>
          <a:xfrm>
            <a:off x="384266" y="275094"/>
            <a:ext cx="10173556" cy="610884"/>
          </a:xfrm>
        </p:spPr>
        <p:txBody>
          <a:bodyPr anchor="t">
            <a:noAutofit/>
          </a:bodyPr>
          <a:lstStyle/>
          <a:p>
            <a:r>
              <a:rPr lang="en-US" sz="3600" b="1">
                <a:latin typeface="+mn-lt"/>
              </a:rPr>
              <a:t>Key Features</a:t>
            </a:r>
          </a:p>
        </p:txBody>
      </p:sp>
      <p:sp>
        <p:nvSpPr>
          <p:cNvPr id="32" name="Slide Number Placeholder 4">
            <a:extLst>
              <a:ext uri="{FF2B5EF4-FFF2-40B4-BE49-F238E27FC236}">
                <a16:creationId xmlns:a16="http://schemas.microsoft.com/office/drawing/2014/main" id="{2F2861DA-594F-4F0C-A156-A1BF50E1EFA6}"/>
              </a:ext>
            </a:extLst>
          </p:cNvPr>
          <p:cNvSpPr txBox="1">
            <a:spLocks/>
          </p:cNvSpPr>
          <p:nvPr/>
        </p:nvSpPr>
        <p:spPr>
          <a:xfrm>
            <a:off x="10104120" y="6356350"/>
            <a:ext cx="2028008" cy="365125"/>
          </a:xfrm>
          <a:prstGeom prst="rect">
            <a:avLst/>
          </a:prstGeom>
        </p:spPr>
        <p:txBody>
          <a:bodyPr vert="horz" lIns="91440" tIns="45720" rIns="91440" bIns="45720" rtlCol="0" anchor="ctr"/>
          <a:lstStyle>
            <a:defPPr>
              <a:defRPr lang="en-US"/>
            </a:defPPr>
            <a:lvl1pPr marL="0" algn="r" defTabSz="914341" rtl="0" eaLnBrk="1" latinLnBrk="0" hangingPunct="1">
              <a:defRPr sz="900" kern="1200">
                <a:solidFill>
                  <a:schemeClr val="bg1">
                    <a:lumMod val="65000"/>
                  </a:schemeClr>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3"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6"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a:lstStyle>
          <a:p>
            <a:fld id="{6358EE78-369A-4A83-91BE-CE1CDBA0BAF0}" type="slidenum">
              <a:rPr lang="en-US" sz="1100" b="1"/>
              <a:pPr/>
              <a:t>9</a:t>
            </a:fld>
            <a:endParaRPr lang="en-US" sz="1100" b="1"/>
          </a:p>
        </p:txBody>
      </p:sp>
      <p:grpSp>
        <p:nvGrpSpPr>
          <p:cNvPr id="3" name="Group 2">
            <a:extLst>
              <a:ext uri="{FF2B5EF4-FFF2-40B4-BE49-F238E27FC236}">
                <a16:creationId xmlns:a16="http://schemas.microsoft.com/office/drawing/2014/main" id="{55AED989-1543-80D4-C30A-5B75EF25EB9D}"/>
              </a:ext>
            </a:extLst>
          </p:cNvPr>
          <p:cNvGrpSpPr/>
          <p:nvPr/>
        </p:nvGrpSpPr>
        <p:grpSpPr>
          <a:xfrm>
            <a:off x="9968911" y="5899336"/>
            <a:ext cx="1896852" cy="861934"/>
            <a:chOff x="9968911" y="5899336"/>
            <a:chExt cx="1896852" cy="861934"/>
          </a:xfrm>
        </p:grpSpPr>
        <p:sp>
          <p:nvSpPr>
            <p:cNvPr id="4" name="Rectangle 3">
              <a:extLst>
                <a:ext uri="{FF2B5EF4-FFF2-40B4-BE49-F238E27FC236}">
                  <a16:creationId xmlns:a16="http://schemas.microsoft.com/office/drawing/2014/main" id="{43DFA307-9AC4-0332-A3EB-22F295010D7C}"/>
                </a:ext>
              </a:extLst>
            </p:cNvPr>
            <p:cNvSpPr/>
            <p:nvPr/>
          </p:nvSpPr>
          <p:spPr>
            <a:xfrm>
              <a:off x="9968911" y="5899336"/>
              <a:ext cx="1873770" cy="8619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Icon&#10;&#10;Description automatically generated">
              <a:extLst>
                <a:ext uri="{FF2B5EF4-FFF2-40B4-BE49-F238E27FC236}">
                  <a16:creationId xmlns:a16="http://schemas.microsoft.com/office/drawing/2014/main" id="{ED925262-4083-9605-AD4C-CB516FEDDC9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60742" y="5972628"/>
              <a:ext cx="1505021" cy="593792"/>
            </a:xfrm>
            <a:prstGeom prst="rect">
              <a:avLst/>
            </a:prstGeom>
          </p:spPr>
        </p:pic>
      </p:grpSp>
      <p:grpSp>
        <p:nvGrpSpPr>
          <p:cNvPr id="57" name="Group 56">
            <a:extLst>
              <a:ext uri="{FF2B5EF4-FFF2-40B4-BE49-F238E27FC236}">
                <a16:creationId xmlns:a16="http://schemas.microsoft.com/office/drawing/2014/main" id="{51ECBCEC-CA5F-472A-9F90-76C94459EADE}"/>
              </a:ext>
            </a:extLst>
          </p:cNvPr>
          <p:cNvGrpSpPr/>
          <p:nvPr/>
        </p:nvGrpSpPr>
        <p:grpSpPr>
          <a:xfrm>
            <a:off x="326756" y="1010946"/>
            <a:ext cx="10280372" cy="5493853"/>
            <a:chOff x="528734" y="987019"/>
            <a:chExt cx="10078938" cy="3716600"/>
          </a:xfrm>
        </p:grpSpPr>
        <p:sp>
          <p:nvSpPr>
            <p:cNvPr id="9" name="Freeform: Shape 8">
              <a:extLst>
                <a:ext uri="{FF2B5EF4-FFF2-40B4-BE49-F238E27FC236}">
                  <a16:creationId xmlns:a16="http://schemas.microsoft.com/office/drawing/2014/main" id="{D677F217-7259-48F1-B6A0-A184560AD64D}"/>
                </a:ext>
              </a:extLst>
            </p:cNvPr>
            <p:cNvSpPr/>
            <p:nvPr/>
          </p:nvSpPr>
          <p:spPr>
            <a:xfrm>
              <a:off x="1203015" y="987019"/>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a:solidFill>
                    <a:schemeClr val="accent6"/>
                  </a:solidFill>
                </a:rPr>
                <a:t>The program legislation (S3432) was signed by Governor Phil Murphy on </a:t>
              </a:r>
              <a:r>
                <a:rPr lang="en-US" sz="2200" b="1">
                  <a:solidFill>
                    <a:schemeClr val="tx2"/>
                  </a:solidFill>
                </a:rPr>
                <a:t>July 25, 2024</a:t>
              </a:r>
              <a:r>
                <a:rPr lang="en-US" sz="2200">
                  <a:solidFill>
                    <a:schemeClr val="accent6"/>
                  </a:solidFill>
                </a:rPr>
                <a:t> as P.L. 2024, c.49 and codified at N.J.S.A. 34:1B-394 through -402</a:t>
              </a:r>
              <a:endParaRPr lang="en-US" sz="2200">
                <a:solidFill>
                  <a:schemeClr val="accent6"/>
                </a:solidFill>
                <a:cs typeface="Calibri"/>
              </a:endParaRPr>
            </a:p>
          </p:txBody>
        </p:sp>
        <p:sp>
          <p:nvSpPr>
            <p:cNvPr id="10" name="Straight Connector 9">
              <a:extLst>
                <a:ext uri="{FF2B5EF4-FFF2-40B4-BE49-F238E27FC236}">
                  <a16:creationId xmlns:a16="http://schemas.microsoft.com/office/drawing/2014/main" id="{3E22D651-1966-4349-B6A8-C738AE2219BE}"/>
                </a:ext>
              </a:extLst>
            </p:cNvPr>
            <p:cNvSpPr/>
            <p:nvPr/>
          </p:nvSpPr>
          <p:spPr>
            <a:xfrm>
              <a:off x="528734" y="1703521"/>
              <a:ext cx="9951925"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2483D720-CE1C-4C91-BE60-1FC7501110AF}"/>
                </a:ext>
              </a:extLst>
            </p:cNvPr>
            <p:cNvSpPr/>
            <p:nvPr/>
          </p:nvSpPr>
          <p:spPr>
            <a:xfrm>
              <a:off x="1203016" y="1596239"/>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200" b="1">
                  <a:solidFill>
                    <a:srgbClr val="00597C"/>
                  </a:solidFill>
                </a:rPr>
                <a:t>Tax credits </a:t>
              </a:r>
              <a:r>
                <a:rPr lang="en-US" sz="2200">
                  <a:solidFill>
                    <a:schemeClr val="accent3"/>
                  </a:solidFill>
                </a:rPr>
                <a:t>are transferable under this program</a:t>
              </a:r>
              <a:endParaRPr lang="en-US" sz="2200">
                <a:solidFill>
                  <a:schemeClr val="accent3"/>
                </a:solidFill>
                <a:cs typeface="Calibri"/>
              </a:endParaRPr>
            </a:p>
          </p:txBody>
        </p:sp>
        <p:sp>
          <p:nvSpPr>
            <p:cNvPr id="12" name="Straight Connector 11">
              <a:extLst>
                <a:ext uri="{FF2B5EF4-FFF2-40B4-BE49-F238E27FC236}">
                  <a16:creationId xmlns:a16="http://schemas.microsoft.com/office/drawing/2014/main" id="{0913F5AE-3331-432A-A837-81BAC0EB965A}"/>
                </a:ext>
              </a:extLst>
            </p:cNvPr>
            <p:cNvSpPr/>
            <p:nvPr/>
          </p:nvSpPr>
          <p:spPr>
            <a:xfrm>
              <a:off x="528734" y="2213208"/>
              <a:ext cx="9951925"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Freeform: Shape 12">
              <a:extLst>
                <a:ext uri="{FF2B5EF4-FFF2-40B4-BE49-F238E27FC236}">
                  <a16:creationId xmlns:a16="http://schemas.microsoft.com/office/drawing/2014/main" id="{829EF3D1-B513-4DDC-A287-9682146D4792}"/>
                </a:ext>
              </a:extLst>
            </p:cNvPr>
            <p:cNvSpPr/>
            <p:nvPr/>
          </p:nvSpPr>
          <p:spPr>
            <a:xfrm>
              <a:off x="1203016" y="2213207"/>
              <a:ext cx="9352028"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a:solidFill>
                    <a:schemeClr val="accent6"/>
                  </a:solidFill>
                </a:rPr>
                <a:t>Provides tax credits to incentivize AI </a:t>
              </a:r>
              <a:r>
                <a:rPr lang="en-US" sz="2200" b="1">
                  <a:solidFill>
                    <a:schemeClr val="tx1"/>
                  </a:solidFill>
                </a:rPr>
                <a:t>Datacenters and /or companies involved in AI activities </a:t>
              </a:r>
              <a:r>
                <a:rPr lang="en-US" sz="2200">
                  <a:solidFill>
                    <a:schemeClr val="accent6"/>
                  </a:solidFill>
                </a:rPr>
                <a:t>in New Jersey </a:t>
              </a:r>
              <a:endParaRPr lang="en-US" sz="2200">
                <a:solidFill>
                  <a:schemeClr val="accent6"/>
                </a:solidFill>
                <a:cs typeface="Calibri"/>
              </a:endParaRPr>
            </a:p>
          </p:txBody>
        </p:sp>
        <p:sp>
          <p:nvSpPr>
            <p:cNvPr id="14" name="Straight Connector 13">
              <a:extLst>
                <a:ext uri="{FF2B5EF4-FFF2-40B4-BE49-F238E27FC236}">
                  <a16:creationId xmlns:a16="http://schemas.microsoft.com/office/drawing/2014/main" id="{4C0172A8-FF81-4EC8-B749-14117426D0B2}"/>
                </a:ext>
              </a:extLst>
            </p:cNvPr>
            <p:cNvSpPr/>
            <p:nvPr/>
          </p:nvSpPr>
          <p:spPr>
            <a:xfrm>
              <a:off x="528734" y="2829884"/>
              <a:ext cx="9951925"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5" name="Freeform: Shape 14">
              <a:extLst>
                <a:ext uri="{FF2B5EF4-FFF2-40B4-BE49-F238E27FC236}">
                  <a16:creationId xmlns:a16="http://schemas.microsoft.com/office/drawing/2014/main" id="{F233ECF3-CAE7-4677-901B-475C397C274E}"/>
                </a:ext>
              </a:extLst>
            </p:cNvPr>
            <p:cNvSpPr/>
            <p:nvPr/>
          </p:nvSpPr>
          <p:spPr>
            <a:xfrm>
              <a:off x="1185091" y="3002674"/>
              <a:ext cx="8301843" cy="628822"/>
            </a:xfrm>
            <a:custGeom>
              <a:avLst/>
              <a:gdLst>
                <a:gd name="connsiteX0" fmla="*/ 0 w 8301843"/>
                <a:gd name="connsiteY0" fmla="*/ 0 h 616676"/>
                <a:gd name="connsiteX1" fmla="*/ 8301843 w 8301843"/>
                <a:gd name="connsiteY1" fmla="*/ 0 h 616676"/>
                <a:gd name="connsiteX2" fmla="*/ 8301843 w 8301843"/>
                <a:gd name="connsiteY2" fmla="*/ 616676 h 616676"/>
                <a:gd name="connsiteX3" fmla="*/ 0 w 8301843"/>
                <a:gd name="connsiteY3" fmla="*/ 616676 h 616676"/>
                <a:gd name="connsiteX4" fmla="*/ 0 w 8301843"/>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01843" h="616676">
                  <a:moveTo>
                    <a:pt x="0" y="0"/>
                  </a:moveTo>
                  <a:lnTo>
                    <a:pt x="8301843" y="0"/>
                  </a:lnTo>
                  <a:lnTo>
                    <a:pt x="8301843"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a:solidFill>
                    <a:schemeClr val="accent6"/>
                  </a:solidFill>
                </a:rPr>
                <a:t>Program </a:t>
              </a:r>
              <a:r>
                <a:rPr lang="en-US" sz="2200" b="1">
                  <a:solidFill>
                    <a:schemeClr val="tx1"/>
                  </a:solidFill>
                </a:rPr>
                <a:t>accepts applications through March 1, 2029 on a rolling basis subject to available tax credits</a:t>
              </a:r>
              <a:endParaRPr lang="en-US" sz="2200" b="1">
                <a:solidFill>
                  <a:schemeClr val="tx1"/>
                </a:solidFill>
                <a:cs typeface="Calibri"/>
              </a:endParaRPr>
            </a:p>
            <a:p>
              <a:pPr marL="0" lvl="0" indent="0" algn="l" defTabSz="889000">
                <a:lnSpc>
                  <a:spcPct val="90000"/>
                </a:lnSpc>
                <a:spcBef>
                  <a:spcPct val="0"/>
                </a:spcBef>
                <a:spcAft>
                  <a:spcPct val="35000"/>
                </a:spcAft>
                <a:buNone/>
              </a:pPr>
              <a:r>
                <a:rPr lang="en-US" sz="2000" b="1">
                  <a:solidFill>
                    <a:srgbClr val="00597C"/>
                  </a:solidFill>
                  <a:highlight>
                    <a:srgbClr val="FFFFFF"/>
                  </a:highlight>
                </a:rPr>
                <a:t> </a:t>
              </a:r>
              <a:endParaRPr lang="en-US" sz="2000">
                <a:solidFill>
                  <a:schemeClr val="accent6"/>
                </a:solidFill>
                <a:highlight>
                  <a:srgbClr val="FFFFFF"/>
                </a:highlight>
              </a:endParaRPr>
            </a:p>
          </p:txBody>
        </p:sp>
        <p:sp>
          <p:nvSpPr>
            <p:cNvPr id="16" name="Straight Connector 15">
              <a:extLst>
                <a:ext uri="{FF2B5EF4-FFF2-40B4-BE49-F238E27FC236}">
                  <a16:creationId xmlns:a16="http://schemas.microsoft.com/office/drawing/2014/main" id="{C93361A7-9A2B-4EA1-AC26-9F72C10CC552}"/>
                </a:ext>
              </a:extLst>
            </p:cNvPr>
            <p:cNvSpPr/>
            <p:nvPr/>
          </p:nvSpPr>
          <p:spPr>
            <a:xfrm>
              <a:off x="528734" y="3446560"/>
              <a:ext cx="9951925"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Freeform: Shape 16">
              <a:extLst>
                <a:ext uri="{FF2B5EF4-FFF2-40B4-BE49-F238E27FC236}">
                  <a16:creationId xmlns:a16="http://schemas.microsoft.com/office/drawing/2014/main" id="{06D1C803-49B7-42C9-B84B-8BAFC3D9EEAC}"/>
                </a:ext>
              </a:extLst>
            </p:cNvPr>
            <p:cNvSpPr/>
            <p:nvPr/>
          </p:nvSpPr>
          <p:spPr>
            <a:xfrm>
              <a:off x="1350590" y="3446560"/>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endParaRPr lang="en-US" sz="2000" b="1">
                <a:solidFill>
                  <a:srgbClr val="00597C"/>
                </a:solidFill>
              </a:endParaRPr>
            </a:p>
          </p:txBody>
        </p:sp>
        <p:sp>
          <p:nvSpPr>
            <p:cNvPr id="18" name="Straight Connector 17">
              <a:extLst>
                <a:ext uri="{FF2B5EF4-FFF2-40B4-BE49-F238E27FC236}">
                  <a16:creationId xmlns:a16="http://schemas.microsoft.com/office/drawing/2014/main" id="{E0F0BE7F-6C95-46A5-A1AF-2EA800DA705B}"/>
                </a:ext>
              </a:extLst>
            </p:cNvPr>
            <p:cNvSpPr/>
            <p:nvPr/>
          </p:nvSpPr>
          <p:spPr>
            <a:xfrm>
              <a:off x="528734" y="4063237"/>
              <a:ext cx="9951925" cy="0"/>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9" name="Freeform: Shape 18">
              <a:extLst>
                <a:ext uri="{FF2B5EF4-FFF2-40B4-BE49-F238E27FC236}">
                  <a16:creationId xmlns:a16="http://schemas.microsoft.com/office/drawing/2014/main" id="{AE213D7C-F974-4D71-8D9A-FE8325C368B0}"/>
                </a:ext>
              </a:extLst>
            </p:cNvPr>
            <p:cNvSpPr/>
            <p:nvPr/>
          </p:nvSpPr>
          <p:spPr>
            <a:xfrm>
              <a:off x="1223577" y="4074797"/>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a:solidFill>
                    <a:schemeClr val="accent6"/>
                  </a:solidFill>
                  <a:highlight>
                    <a:srgbClr val="FFFFFF"/>
                  </a:highlight>
                </a:rPr>
                <a:t>Bolsters </a:t>
              </a:r>
              <a:r>
                <a:rPr lang="en-US" sz="2200" b="1">
                  <a:ea typeface="Calibri" panose="020F0502020204030204" pitchFamily="34" charset="0"/>
                </a:rPr>
                <a:t>smart growth investments focused on the cultivation of an AI ecosystem </a:t>
              </a:r>
              <a:r>
                <a:rPr lang="en-US" sz="2200">
                  <a:solidFill>
                    <a:srgbClr val="000000"/>
                  </a:solidFill>
                </a:rPr>
                <a:t>by </a:t>
              </a:r>
              <a:r>
                <a:rPr lang="en-US" sz="2200">
                  <a:solidFill>
                    <a:srgbClr val="000000"/>
                  </a:solidFill>
                  <a:ea typeface="Calibri" panose="020F0502020204030204" pitchFamily="34" charset="0"/>
                </a:rPr>
                <a:t>helping</a:t>
              </a:r>
              <a:r>
                <a:rPr lang="en-US" sz="2200" b="1">
                  <a:solidFill>
                    <a:srgbClr val="000000"/>
                  </a:solidFill>
                  <a:ea typeface="Calibri" panose="020F0502020204030204" pitchFamily="34" charset="0"/>
                </a:rPr>
                <a:t> </a:t>
              </a:r>
              <a:r>
                <a:rPr lang="en-US" sz="2200">
                  <a:solidFill>
                    <a:srgbClr val="000000"/>
                  </a:solidFill>
                  <a:ea typeface="Calibri" panose="020F0502020204030204" pitchFamily="34" charset="0"/>
                </a:rPr>
                <a:t>to bring the industry to the Garden State</a:t>
              </a:r>
              <a:endParaRPr lang="en-US" sz="2200" b="1">
                <a:solidFill>
                  <a:srgbClr val="000000"/>
                </a:solidFill>
                <a:cs typeface="Calibri"/>
              </a:endParaRPr>
            </a:p>
          </p:txBody>
        </p:sp>
        <p:sp>
          <p:nvSpPr>
            <p:cNvPr id="20" name="Straight Connector 19">
              <a:extLst>
                <a:ext uri="{FF2B5EF4-FFF2-40B4-BE49-F238E27FC236}">
                  <a16:creationId xmlns:a16="http://schemas.microsoft.com/office/drawing/2014/main" id="{F76CCD46-58F6-4DF9-8D02-546352AC4326}"/>
                </a:ext>
              </a:extLst>
            </p:cNvPr>
            <p:cNvSpPr/>
            <p:nvPr/>
          </p:nvSpPr>
          <p:spPr>
            <a:xfrm flipV="1">
              <a:off x="528734" y="4679912"/>
              <a:ext cx="9422139" cy="1"/>
            </a:xfrm>
            <a:prstGeom prst="lin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1" name="Freeform: Shape 20">
              <a:extLst>
                <a:ext uri="{FF2B5EF4-FFF2-40B4-BE49-F238E27FC236}">
                  <a16:creationId xmlns:a16="http://schemas.microsoft.com/office/drawing/2014/main" id="{F8386A95-D2CA-4EA1-A001-CFD1C6E8B798}"/>
                </a:ext>
              </a:extLst>
            </p:cNvPr>
            <p:cNvSpPr/>
            <p:nvPr/>
          </p:nvSpPr>
          <p:spPr>
            <a:xfrm>
              <a:off x="1249401" y="3446558"/>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a:solidFill>
                    <a:srgbClr val="000000"/>
                  </a:solidFill>
                  <a:ea typeface="Calibri" panose="020F0502020204030204" pitchFamily="34" charset="0"/>
                </a:rPr>
                <a:t>Encourages </a:t>
              </a:r>
              <a:r>
                <a:rPr lang="en-US" sz="2200" b="1">
                  <a:ea typeface="Calibri" panose="020F0502020204030204" pitchFamily="34" charset="0"/>
                </a:rPr>
                <a:t>long-term investment into the State and welcome investment in New Jersey’s AI technology sector</a:t>
              </a:r>
              <a:endParaRPr lang="en-US" sz="2200"/>
            </a:p>
          </p:txBody>
        </p:sp>
        <p:sp>
          <p:nvSpPr>
            <p:cNvPr id="25" name="Freeform: Shape 24">
              <a:extLst>
                <a:ext uri="{FF2B5EF4-FFF2-40B4-BE49-F238E27FC236}">
                  <a16:creationId xmlns:a16="http://schemas.microsoft.com/office/drawing/2014/main" id="{4BA3FCA5-8C6E-4AB7-ACDB-5C5F201A3D48}"/>
                </a:ext>
              </a:extLst>
            </p:cNvPr>
            <p:cNvSpPr/>
            <p:nvPr/>
          </p:nvSpPr>
          <p:spPr>
            <a:xfrm>
              <a:off x="1350590" y="3428091"/>
              <a:ext cx="9257082" cy="628822"/>
            </a:xfrm>
            <a:custGeom>
              <a:avLst/>
              <a:gdLst>
                <a:gd name="connsiteX0" fmla="*/ 0 w 9257082"/>
                <a:gd name="connsiteY0" fmla="*/ 0 h 616676"/>
                <a:gd name="connsiteX1" fmla="*/ 9257082 w 9257082"/>
                <a:gd name="connsiteY1" fmla="*/ 0 h 616676"/>
                <a:gd name="connsiteX2" fmla="*/ 9257082 w 9257082"/>
                <a:gd name="connsiteY2" fmla="*/ 616676 h 616676"/>
                <a:gd name="connsiteX3" fmla="*/ 0 w 9257082"/>
                <a:gd name="connsiteY3" fmla="*/ 616676 h 616676"/>
                <a:gd name="connsiteX4" fmla="*/ 0 w 9257082"/>
                <a:gd name="connsiteY4" fmla="*/ 0 h 61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082" h="616676">
                  <a:moveTo>
                    <a:pt x="0" y="0"/>
                  </a:moveTo>
                  <a:lnTo>
                    <a:pt x="9257082" y="0"/>
                  </a:lnTo>
                  <a:lnTo>
                    <a:pt x="9257082" y="616676"/>
                  </a:lnTo>
                  <a:lnTo>
                    <a:pt x="0" y="6166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endParaRPr lang="en-US" sz="2000">
                <a:solidFill>
                  <a:schemeClr val="tx1"/>
                </a:solidFill>
                <a:highlight>
                  <a:srgbClr val="FFFF00"/>
                </a:highlight>
              </a:endParaRPr>
            </a:p>
          </p:txBody>
        </p:sp>
      </p:grpSp>
      <p:sp>
        <p:nvSpPr>
          <p:cNvPr id="8" name="AutoShape 11">
            <a:extLst>
              <a:ext uri="{FF2B5EF4-FFF2-40B4-BE49-F238E27FC236}">
                <a16:creationId xmlns:a16="http://schemas.microsoft.com/office/drawing/2014/main" id="{A8E2AE05-EC6B-AB30-46E6-637E7C8FAA7A}"/>
              </a:ext>
            </a:extLst>
          </p:cNvPr>
          <p:cNvSpPr/>
          <p:nvPr/>
        </p:nvSpPr>
        <p:spPr>
          <a:xfrm>
            <a:off x="5839573" y="873045"/>
            <a:ext cx="5410200" cy="0"/>
          </a:xfrm>
          <a:prstGeom prst="line">
            <a:avLst/>
          </a:prstGeom>
          <a:ln w="57150" cap="flat">
            <a:solidFill>
              <a:srgbClr val="00597C"/>
            </a:solidFill>
            <a:prstDash val="solid"/>
            <a:headEnd type="none" w="sm" len="sm"/>
            <a:tailEnd type="none" w="sm" len="sm"/>
          </a:ln>
        </p:spPr>
        <p:txBody>
          <a:bodyPr/>
          <a:lstStyle/>
          <a:p>
            <a:endParaRPr lang="en-US"/>
          </a:p>
        </p:txBody>
      </p:sp>
      <p:sp>
        <p:nvSpPr>
          <p:cNvPr id="22" name="AutoShape 10">
            <a:extLst>
              <a:ext uri="{FF2B5EF4-FFF2-40B4-BE49-F238E27FC236}">
                <a16:creationId xmlns:a16="http://schemas.microsoft.com/office/drawing/2014/main" id="{8556868F-E4C4-B994-AA35-1409162401DA}"/>
              </a:ext>
            </a:extLst>
          </p:cNvPr>
          <p:cNvSpPr/>
          <p:nvPr/>
        </p:nvSpPr>
        <p:spPr>
          <a:xfrm>
            <a:off x="429373" y="873045"/>
            <a:ext cx="5410200" cy="0"/>
          </a:xfrm>
          <a:prstGeom prst="line">
            <a:avLst/>
          </a:prstGeom>
          <a:ln w="57150" cap="flat">
            <a:solidFill>
              <a:srgbClr val="83BE41"/>
            </a:solidFill>
            <a:prstDash val="solid"/>
            <a:headEnd type="none" w="sm" len="sm"/>
            <a:tailEnd type="none" w="sm" len="sm"/>
          </a:ln>
        </p:spPr>
        <p:txBody>
          <a:bodyPr/>
          <a:lstStyle/>
          <a:p>
            <a:endParaRPr lang="en-US"/>
          </a:p>
        </p:txBody>
      </p:sp>
    </p:spTree>
    <p:extLst>
      <p:ext uri="{BB962C8B-B14F-4D97-AF65-F5344CB8AC3E}">
        <p14:creationId xmlns:p14="http://schemas.microsoft.com/office/powerpoint/2010/main" val="13117318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ISLEGEND" val="true"/>
</p:tagLst>
</file>

<file path=ppt/tags/tag44.xml><?xml version="1.0" encoding="utf-8"?>
<p:tagLst xmlns:a="http://schemas.openxmlformats.org/drawingml/2006/main" xmlns:r="http://schemas.openxmlformats.org/officeDocument/2006/relationships" xmlns:p="http://schemas.openxmlformats.org/presentationml/2006/main">
  <p:tag name="ISLEGEND" val="true"/>
</p:tagLst>
</file>

<file path=ppt/tags/tag45.xml><?xml version="1.0" encoding="utf-8"?>
<p:tagLst xmlns:a="http://schemas.openxmlformats.org/drawingml/2006/main" xmlns:r="http://schemas.openxmlformats.org/officeDocument/2006/relationships" xmlns:p="http://schemas.openxmlformats.org/presentationml/2006/main">
  <p:tag name="ISLEGEND" val="true"/>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1.xml><?xml version="1.0" encoding="utf-8"?>
<p:tagLst xmlns:a="http://schemas.openxmlformats.org/drawingml/2006/main" xmlns:r="http://schemas.openxmlformats.org/officeDocument/2006/relationships" xmlns:p="http://schemas.openxmlformats.org/presentationml/2006/main">
  <p:tag name="ISLEGEND" val="true"/>
</p:tagLst>
</file>

<file path=ppt/tags/tag62.xml><?xml version="1.0" encoding="utf-8"?>
<p:tagLst xmlns:a="http://schemas.openxmlformats.org/drawingml/2006/main" xmlns:r="http://schemas.openxmlformats.org/officeDocument/2006/relationships" xmlns:p="http://schemas.openxmlformats.org/presentationml/2006/main">
  <p:tag name="ISLEGEND" val="tru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Office Theme">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3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4.xml><?xml version="1.0" encoding="utf-8"?>
<a:theme xmlns:a="http://schemas.openxmlformats.org/drawingml/2006/main" name="Office Theme">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9994566D8F404BBB30C49350C9905C" ma:contentTypeVersion="14" ma:contentTypeDescription="Create a new document." ma:contentTypeScope="" ma:versionID="4ea761cec5c24ae214c13d0a31e43b61">
  <xsd:schema xmlns:xsd="http://www.w3.org/2001/XMLSchema" xmlns:xs="http://www.w3.org/2001/XMLSchema" xmlns:p="http://schemas.microsoft.com/office/2006/metadata/properties" xmlns:ns2="e817bb11-e0ad-4c76-a95f-bc30b7942257" xmlns:ns3="7e442f8c-2b69-4ac9-9723-b3795c5148a8" targetNamespace="http://schemas.microsoft.com/office/2006/metadata/properties" ma:root="true" ma:fieldsID="d841b26ae5bb3cde42bc5ca49742f7e6" ns2:_="" ns3:_="">
    <xsd:import namespace="e817bb11-e0ad-4c76-a95f-bc30b7942257"/>
    <xsd:import namespace="7e442f8c-2b69-4ac9-9723-b3795c5148a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17bb11-e0ad-4c76-a95f-bc30b79422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e442f8c-2b69-4ac9-9723-b3795c5148a8"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d054935-6ecd-49d3-ba11-b0d4dddecb41}" ma:internalName="TaxCatchAll" ma:showField="CatchAllData" ma:web="7e442f8c-2b69-4ac9-9723-b3795c5148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e442f8c-2b69-4ac9-9723-b3795c5148a8" xsi:nil="true"/>
    <lcf76f155ced4ddcb4097134ff3c332f xmlns="e817bb11-e0ad-4c76-a95f-bc30b794225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11E563C-530C-4B33-8DBA-F43CD0EE29C2}">
  <ds:schemaRefs>
    <ds:schemaRef ds:uri="7e442f8c-2b69-4ac9-9723-b3795c5148a8"/>
    <ds:schemaRef ds:uri="e817bb11-e0ad-4c76-a95f-bc30b79422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0BD15AF-AF8D-414A-8176-6D1BEEB421E2}">
  <ds:schemaRefs>
    <ds:schemaRef ds:uri="http://schemas.microsoft.com/sharepoint/v3/contenttype/forms"/>
  </ds:schemaRefs>
</ds:datastoreItem>
</file>

<file path=customXml/itemProps3.xml><?xml version="1.0" encoding="utf-8"?>
<ds:datastoreItem xmlns:ds="http://schemas.openxmlformats.org/officeDocument/2006/customXml" ds:itemID="{2FA6C0B8-CE2B-48F6-AD7F-2A3722CD965B}">
  <ds:schemaRefs>
    <ds:schemaRef ds:uri="12dcd516-8bae-4445-b22f-a71f93ef260e"/>
    <ds:schemaRef ds:uri="7e442f8c-2b69-4ac9-9723-b3795c5148a8"/>
    <ds:schemaRef ds:uri="e817bb11-e0ad-4c76-a95f-bc30b7942257"/>
    <ds:schemaRef ds:uri="ef890268-9e1f-4db5-8bb2-4c1e156c77f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0</Slides>
  <Notes>28</Notes>
  <HiddenSlides>0</HiddenSlides>
  <ScaleCrop>false</ScaleCrop>
  <HeadingPairs>
    <vt:vector size="4" baseType="variant">
      <vt:variant>
        <vt:lpstr>Theme</vt:lpstr>
      </vt:variant>
      <vt:variant>
        <vt:i4>5</vt:i4>
      </vt:variant>
      <vt:variant>
        <vt:lpstr>Slide Titles</vt:lpstr>
      </vt:variant>
      <vt:variant>
        <vt:i4>30</vt:i4>
      </vt:variant>
    </vt:vector>
  </HeadingPairs>
  <TitlesOfParts>
    <vt:vector size="35" baseType="lpstr">
      <vt:lpstr>Office Theme</vt:lpstr>
      <vt:lpstr>2_Template_US0168</vt:lpstr>
      <vt:lpstr>3_Template_US0168</vt:lpstr>
      <vt:lpstr>Office Theme</vt:lpstr>
      <vt:lpstr>1_Office Theme</vt:lpstr>
      <vt:lpstr>Next NJ Program-AI EO 63 Listening Session </vt:lpstr>
      <vt:lpstr>Recording of Public Feedback Sessions</vt:lpstr>
      <vt:lpstr>Executive Order No. 63</vt:lpstr>
      <vt:lpstr>PowerPoint Presentation</vt:lpstr>
      <vt:lpstr>PowerPoint Presentation</vt:lpstr>
      <vt:lpstr>PowerPoint Presentation</vt:lpstr>
      <vt:lpstr>Introduction</vt:lpstr>
      <vt:lpstr>Introduction </vt:lpstr>
      <vt:lpstr>Key Features</vt:lpstr>
      <vt:lpstr>PowerPoint Presentation</vt:lpstr>
      <vt:lpstr>Eligibility</vt:lpstr>
      <vt:lpstr>Eligibility (Cont.)</vt:lpstr>
      <vt:lpstr>Eligibility (Cont.)</vt:lpstr>
      <vt:lpstr>Collaborative Relationship</vt:lpstr>
      <vt:lpstr>Collaborative Relationship</vt:lpstr>
      <vt:lpstr>Program Timeline</vt:lpstr>
      <vt:lpstr>PowerPoint Presentation</vt:lpstr>
      <vt:lpstr>Additional Program Details (Cont.)</vt:lpstr>
      <vt:lpstr>Additional Program Details (Cont.)</vt:lpstr>
      <vt:lpstr>Additional Program Details (cont.)</vt:lpstr>
      <vt:lpstr>Additional Program Details (cont.)</vt:lpstr>
      <vt:lpstr>Capital Investment</vt:lpstr>
      <vt:lpstr>Capital Investment cont.</vt:lpstr>
      <vt:lpstr>Capital Investment</vt:lpstr>
      <vt:lpstr> New Jersey Qualified Business Facility  </vt:lpstr>
      <vt:lpstr>Green Building Standards</vt:lpstr>
      <vt:lpstr>Next NJ Program-AI Fees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ly Report</dc:title>
  <dc:creator>Abigail Schwendeman</dc:creator>
  <cp:revision>1</cp:revision>
  <cp:lastPrinted>2021-11-29T20:39:34Z</cp:lastPrinted>
  <dcterms:created xsi:type="dcterms:W3CDTF">2020-08-13T20:36:58Z</dcterms:created>
  <dcterms:modified xsi:type="dcterms:W3CDTF">2024-11-22T14:4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9994566D8F404BBB30C49350C9905C</vt:lpwstr>
  </property>
  <property fmtid="{D5CDD505-2E9C-101B-9397-08002B2CF9AE}" pid="3" name="MediaServiceImageTags">
    <vt:lpwstr/>
  </property>
</Properties>
</file>